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2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7"/>
  </p:notesMasterIdLst>
  <p:sldIdLst>
    <p:sldId id="2147483591" r:id="rId4"/>
    <p:sldId id="2147483645" r:id="rId5"/>
    <p:sldId id="269" r:id="rId6"/>
  </p:sldIdLst>
  <p:sldSz cx="12192000" cy="6858000"/>
  <p:notesSz cx="6797675" cy="9926638"/>
  <p:custDataLst>
    <p:tags r:id="rId8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5C5C5C"/>
    <a:srgbClr val="FAEEC3"/>
    <a:srgbClr val="F2DE8A"/>
    <a:srgbClr val="E9CD49"/>
    <a:srgbClr val="C6AA3D"/>
    <a:srgbClr val="AB8933"/>
    <a:srgbClr val="FAECDB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8" autoAdjust="0"/>
    <p:restoredTop sz="96552" autoAdjust="0"/>
  </p:normalViewPr>
  <p:slideViewPr>
    <p:cSldViewPr snapToGrid="0">
      <p:cViewPr varScale="1">
        <p:scale>
          <a:sx n="81" d="100"/>
          <a:sy n="81" d="100"/>
        </p:scale>
        <p:origin x="77" y="40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Master" Target="slideMasters/slideMaster1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theme" Target="theme/theme1.xml"/><Relationship Id="rId5" Type="http://schemas.openxmlformats.org/officeDocument/2006/relationships/slide" Target="slides/slide2.xml"/><Relationship Id="rId10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CF4BF9-A9CA-46E7-B6B8-B322E40D1F6D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FC16DA-7A0E-4AF0-BA4B-B5C81EDB6A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15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E1E162-7907-46E7-B3F6-A3CA1F3E1EF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01499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C82614-02FB-454D-A640-CC8FB7A5C36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5722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C82614-02FB-454D-A640-CC8FB7A5C36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74987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TDD workforce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oleObject" Target="../embeddings/oleObject2.bin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7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notesSlide" Target="../notesSlides/notesSlide2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6.emf"/><Relationship Id="rId2" Type="http://schemas.openxmlformats.org/officeDocument/2006/relationships/tags" Target="../tags/tag14.xml"/><Relationship Id="rId16" Type="http://schemas.openxmlformats.org/officeDocument/2006/relationships/image" Target="../media/image5.emf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image" Target="../media/image1.emf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8.emf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image" Target="../media/image7.emf"/><Relationship Id="rId2" Type="http://schemas.openxmlformats.org/officeDocument/2006/relationships/tags" Target="../tags/tag25.xml"/><Relationship Id="rId16" Type="http://schemas.openxmlformats.org/officeDocument/2006/relationships/image" Target="../media/image1.emf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5" Type="http://schemas.openxmlformats.org/officeDocument/2006/relationships/tags" Target="../tags/tag28.xml"/><Relationship Id="rId15" Type="http://schemas.openxmlformats.org/officeDocument/2006/relationships/oleObject" Target="../embeddings/oleObject4.bin"/><Relationship Id="rId10" Type="http://schemas.openxmlformats.org/officeDocument/2006/relationships/tags" Target="../tags/tag33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6" name="think-cell data - do not delete" hidden="1">
            <a:extLst>
              <a:ext uri="{FF2B5EF4-FFF2-40B4-BE49-F238E27FC236}">
                <a16:creationId xmlns:a16="http://schemas.microsoft.com/office/drawing/2014/main" id="{F630E1E5-66A6-F7D0-F3AA-BD9E8E0968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84" imgH="486" progId="TCLayout.ActiveDocument.1">
                  <p:embed/>
                </p:oleObj>
              </mc:Choice>
              <mc:Fallback>
                <p:oleObj name="think-cell Slide" r:id="rId13" imgW="484" imgH="486" progId="TCLayout.ActiveDocument.1">
                  <p:embed/>
                  <p:pic>
                    <p:nvPicPr>
                      <p:cNvPr id="10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30E1E5-66A6-F7D0-F3AA-BD9E8E096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3" name="btfpColumnIndicatorGroup2">
            <a:extLst>
              <a:ext uri="{FF2B5EF4-FFF2-40B4-BE49-F238E27FC236}">
                <a16:creationId xmlns:a16="http://schemas.microsoft.com/office/drawing/2014/main" id="{6177AB54-599A-D5D7-C700-4BC68DAD7B49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94" name="btfpColumnGapBlocker694089">
              <a:extLst>
                <a:ext uri="{FF2B5EF4-FFF2-40B4-BE49-F238E27FC236}">
                  <a16:creationId xmlns:a16="http://schemas.microsoft.com/office/drawing/2014/main" id="{886B1D5D-C2DB-639B-FDBE-43CF8A497C0E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btfpColumnGapBlocker362230">
              <a:extLst>
                <a:ext uri="{FF2B5EF4-FFF2-40B4-BE49-F238E27FC236}">
                  <a16:creationId xmlns:a16="http://schemas.microsoft.com/office/drawing/2014/main" id="{70F73A2D-5E3C-46FC-2B71-B9D2F8B55E43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83" name="btfpColumnIndicator287397">
              <a:extLst>
                <a:ext uri="{FF2B5EF4-FFF2-40B4-BE49-F238E27FC236}">
                  <a16:creationId xmlns:a16="http://schemas.microsoft.com/office/drawing/2014/main" id="{1787F673-CEDB-9D57-9AEA-DD400B2E2104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btfpColumnIndicator979749">
              <a:extLst>
                <a:ext uri="{FF2B5EF4-FFF2-40B4-BE49-F238E27FC236}">
                  <a16:creationId xmlns:a16="http://schemas.microsoft.com/office/drawing/2014/main" id="{12841596-B54C-F118-F92E-346286AF0602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btfpColumnGapBlocker910923">
              <a:extLst>
                <a:ext uri="{FF2B5EF4-FFF2-40B4-BE49-F238E27FC236}">
                  <a16:creationId xmlns:a16="http://schemas.microsoft.com/office/drawing/2014/main" id="{A0E5868C-7FF3-1EFC-15FB-B4BE28F3BCDF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4" name="btfpColumnIndicator280613">
              <a:extLst>
                <a:ext uri="{FF2B5EF4-FFF2-40B4-BE49-F238E27FC236}">
                  <a16:creationId xmlns:a16="http://schemas.microsoft.com/office/drawing/2014/main" id="{CFBC484D-1A1A-F54C-CA5A-C88FE663045A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btfpColumnIndicator619033">
              <a:extLst>
                <a:ext uri="{FF2B5EF4-FFF2-40B4-BE49-F238E27FC236}">
                  <a16:creationId xmlns:a16="http://schemas.microsoft.com/office/drawing/2014/main" id="{5C8E924C-9320-E5B5-D907-8805DE69B253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btfpColumnGapBlocker505681">
              <a:extLst>
                <a:ext uri="{FF2B5EF4-FFF2-40B4-BE49-F238E27FC236}">
                  <a16:creationId xmlns:a16="http://schemas.microsoft.com/office/drawing/2014/main" id="{AD801F12-D423-202F-76A3-0C47EDA1CBD4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46" name="btfpColumnIndicator753345">
              <a:extLst>
                <a:ext uri="{FF2B5EF4-FFF2-40B4-BE49-F238E27FC236}">
                  <a16:creationId xmlns:a16="http://schemas.microsoft.com/office/drawing/2014/main" id="{3712E03D-936B-86CA-6482-705B6EC24A61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btfpColumnIndicator685918">
              <a:extLst>
                <a:ext uri="{FF2B5EF4-FFF2-40B4-BE49-F238E27FC236}">
                  <a16:creationId xmlns:a16="http://schemas.microsoft.com/office/drawing/2014/main" id="{13903739-6B8A-6BCD-9EE2-BBFBC34870EA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6" name="btfpColumnIndicatorGroup1">
            <a:extLst>
              <a:ext uri="{FF2B5EF4-FFF2-40B4-BE49-F238E27FC236}">
                <a16:creationId xmlns:a16="http://schemas.microsoft.com/office/drawing/2014/main" id="{C756D259-3A7B-C69E-2861-D384EB0CCDA5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2" name="btfpColumnGapBlocker599194">
              <a:extLst>
                <a:ext uri="{FF2B5EF4-FFF2-40B4-BE49-F238E27FC236}">
                  <a16:creationId xmlns:a16="http://schemas.microsoft.com/office/drawing/2014/main" id="{D1212B00-8C19-BF90-C7EA-6E4AC1FDA14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5" name="btfpColumnGapBlocker506384">
              <a:extLst>
                <a:ext uri="{FF2B5EF4-FFF2-40B4-BE49-F238E27FC236}">
                  <a16:creationId xmlns:a16="http://schemas.microsoft.com/office/drawing/2014/main" id="{8EB3EEB9-8E96-4E97-C458-EC34602B3C5C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82" name="btfpColumnIndicator952258">
              <a:extLst>
                <a:ext uri="{FF2B5EF4-FFF2-40B4-BE49-F238E27FC236}">
                  <a16:creationId xmlns:a16="http://schemas.microsoft.com/office/drawing/2014/main" id="{F2068916-E132-9449-587A-6473491FEFFD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btfpColumnIndicator683802">
              <a:extLst>
                <a:ext uri="{FF2B5EF4-FFF2-40B4-BE49-F238E27FC236}">
                  <a16:creationId xmlns:a16="http://schemas.microsoft.com/office/drawing/2014/main" id="{28880C4B-C12D-6596-BE76-44AFE060A80F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btfpColumnGapBlocker870908">
              <a:extLst>
                <a:ext uri="{FF2B5EF4-FFF2-40B4-BE49-F238E27FC236}">
                  <a16:creationId xmlns:a16="http://schemas.microsoft.com/office/drawing/2014/main" id="{41E454C4-C106-A489-86D1-40F90502C1A6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2" name="btfpColumnIndicator276770">
              <a:extLst>
                <a:ext uri="{FF2B5EF4-FFF2-40B4-BE49-F238E27FC236}">
                  <a16:creationId xmlns:a16="http://schemas.microsoft.com/office/drawing/2014/main" id="{E68A90F1-6020-8B86-7C6E-F5C2FCE13408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btfpColumnIndicator192761">
              <a:extLst>
                <a:ext uri="{FF2B5EF4-FFF2-40B4-BE49-F238E27FC236}">
                  <a16:creationId xmlns:a16="http://schemas.microsoft.com/office/drawing/2014/main" id="{0860283B-39F0-2B5A-4E23-799F53DCF278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btfpColumnGapBlocker616231">
              <a:extLst>
                <a:ext uri="{FF2B5EF4-FFF2-40B4-BE49-F238E27FC236}">
                  <a16:creationId xmlns:a16="http://schemas.microsoft.com/office/drawing/2014/main" id="{6817B03B-A528-A857-239E-F631D58A154C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45" name="btfpColumnIndicator954182">
              <a:extLst>
                <a:ext uri="{FF2B5EF4-FFF2-40B4-BE49-F238E27FC236}">
                  <a16:creationId xmlns:a16="http://schemas.microsoft.com/office/drawing/2014/main" id="{7F290A94-1D8B-E289-336A-D9A24F058810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196262">
              <a:extLst>
                <a:ext uri="{FF2B5EF4-FFF2-40B4-BE49-F238E27FC236}">
                  <a16:creationId xmlns:a16="http://schemas.microsoft.com/office/drawing/2014/main" id="{EF53AAD3-9F2C-2A22-524E-052440935247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9" name="Rectangle 48">
            <a:extLst>
              <a:ext uri="{FF2B5EF4-FFF2-40B4-BE49-F238E27FC236}">
                <a16:creationId xmlns:a16="http://schemas.microsoft.com/office/drawing/2014/main" id="{CD53D212-5FB4-A2E4-3E82-4E19477CE699}"/>
              </a:ext>
            </a:extLst>
          </p:cNvPr>
          <p:cNvSpPr/>
          <p:nvPr/>
        </p:nvSpPr>
        <p:spPr>
          <a:xfrm>
            <a:off x="343352" y="3054451"/>
            <a:ext cx="1355103" cy="311873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680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1000" b="1">
                <a:solidFill>
                  <a:srgbClr val="000000"/>
                </a:solidFill>
              </a:rPr>
              <a:t>Product mgmt. (30)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FE1E6805-4D88-E116-1048-A15AB32BF573}"/>
              </a:ext>
            </a:extLst>
          </p:cNvPr>
          <p:cNvSpPr/>
          <p:nvPr/>
        </p:nvSpPr>
        <p:spPr>
          <a:xfrm>
            <a:off x="5800380" y="3054452"/>
            <a:ext cx="1327470" cy="3118727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680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1000" b="1">
                <a:solidFill>
                  <a:srgbClr val="000000"/>
                </a:solidFill>
              </a:rPr>
              <a:t>Tech ops (14)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2B255CA-C7B7-79E4-547A-DE8A22CCD145}"/>
              </a:ext>
            </a:extLst>
          </p:cNvPr>
          <p:cNvSpPr/>
          <p:nvPr/>
        </p:nvSpPr>
        <p:spPr>
          <a:xfrm>
            <a:off x="4222011" y="3054452"/>
            <a:ext cx="1428888" cy="3118726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680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1000" b="1">
                <a:solidFill>
                  <a:srgbClr val="000000"/>
                </a:solidFill>
              </a:rPr>
              <a:t>Quality assurance (18)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212045A1-9525-30CA-DFC3-86CEA8440EB5}"/>
              </a:ext>
            </a:extLst>
          </p:cNvPr>
          <p:cNvSpPr/>
          <p:nvPr/>
        </p:nvSpPr>
        <p:spPr>
          <a:xfrm>
            <a:off x="1783014" y="3054451"/>
            <a:ext cx="2276655" cy="3118727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680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1000" b="1">
                <a:solidFill>
                  <a:srgbClr val="000000"/>
                </a:solidFill>
              </a:rPr>
              <a:t>Software development (65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0E8AC8-5E61-EDBD-5F2F-C7014ABFC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rget has sizable R&amp;D organization totaling 127 FTEs and ~50 contractors; recent hiring strategies have increased the amount of both remote and offshore resources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878F200-F8D2-B0EE-2100-AD77EE39D82C}"/>
              </a:ext>
            </a:extLst>
          </p:cNvPr>
          <p:cNvSpPr/>
          <p:nvPr/>
        </p:nvSpPr>
        <p:spPr>
          <a:xfrm>
            <a:off x="3023325" y="2295907"/>
            <a:ext cx="1828800" cy="365760"/>
          </a:xfrm>
          <a:prstGeom prst="rect">
            <a:avLst/>
          </a:prstGeom>
          <a:solidFill>
            <a:srgbClr val="46647B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50786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1000" b="1">
                <a:solidFill>
                  <a:srgbClr val="FFFFFF"/>
                </a:solidFill>
              </a:rPr>
              <a:t>CTO / CPO</a:t>
            </a:r>
          </a:p>
        </p:txBody>
      </p: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808CB3F4-D060-156D-43B9-4F0AD6A2D385}"/>
              </a:ext>
            </a:extLst>
          </p:cNvPr>
          <p:cNvCxnSpPr>
            <a:cxnSpLocks/>
            <a:stCxn id="19" idx="2"/>
            <a:endCxn id="20" idx="0"/>
          </p:cNvCxnSpPr>
          <p:nvPr/>
        </p:nvCxnSpPr>
        <p:spPr bwMode="gray">
          <a:xfrm rot="5400000">
            <a:off x="2169102" y="1430424"/>
            <a:ext cx="537380" cy="2999866"/>
          </a:xfrm>
          <a:prstGeom prst="bentConnector3">
            <a:avLst>
              <a:gd name="adj1" fmla="val 50000"/>
            </a:avLst>
          </a:prstGeom>
          <a:ln w="9525" cap="flat">
            <a:solidFill>
              <a:schemeClr val="bg1">
                <a:lumMod val="8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71438C10-34BC-BB04-894E-058AB232DC48}"/>
              </a:ext>
            </a:extLst>
          </p:cNvPr>
          <p:cNvCxnSpPr>
            <a:cxnSpLocks/>
            <a:stCxn id="19" idx="2"/>
            <a:endCxn id="21" idx="0"/>
          </p:cNvCxnSpPr>
          <p:nvPr/>
        </p:nvCxnSpPr>
        <p:spPr bwMode="gray">
          <a:xfrm rot="5400000">
            <a:off x="2862133" y="2123455"/>
            <a:ext cx="537380" cy="1613805"/>
          </a:xfrm>
          <a:prstGeom prst="bentConnector3">
            <a:avLst>
              <a:gd name="adj1" fmla="val 50000"/>
            </a:avLst>
          </a:prstGeom>
          <a:ln w="9525" cap="flat">
            <a:solidFill>
              <a:schemeClr val="bg1">
                <a:lumMod val="8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1E70D8FF-5D96-0F2B-0973-7564FCFA1B2F}"/>
              </a:ext>
            </a:extLst>
          </p:cNvPr>
          <p:cNvCxnSpPr>
            <a:cxnSpLocks/>
            <a:stCxn id="19" idx="2"/>
            <a:endCxn id="23" idx="0"/>
          </p:cNvCxnSpPr>
          <p:nvPr/>
        </p:nvCxnSpPr>
        <p:spPr bwMode="gray">
          <a:xfrm rot="16200000" flipH="1">
            <a:off x="4122761" y="2476631"/>
            <a:ext cx="537380" cy="907452"/>
          </a:xfrm>
          <a:prstGeom prst="bentConnector3">
            <a:avLst>
              <a:gd name="adj1" fmla="val 50000"/>
            </a:avLst>
          </a:prstGeom>
          <a:ln w="9525" cap="flat">
            <a:solidFill>
              <a:schemeClr val="bg1">
                <a:lumMod val="8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9EDDAE41-8CDD-4B5A-0D13-0EF41AB0D700}"/>
              </a:ext>
            </a:extLst>
          </p:cNvPr>
          <p:cNvCxnSpPr>
            <a:cxnSpLocks/>
            <a:stCxn id="19" idx="2"/>
            <a:endCxn id="24" idx="0"/>
          </p:cNvCxnSpPr>
          <p:nvPr/>
        </p:nvCxnSpPr>
        <p:spPr bwMode="gray">
          <a:xfrm rot="16200000" flipH="1">
            <a:off x="4883043" y="1716349"/>
            <a:ext cx="537380" cy="2428016"/>
          </a:xfrm>
          <a:prstGeom prst="bentConnector3">
            <a:avLst>
              <a:gd name="adj1" fmla="val 50000"/>
            </a:avLst>
          </a:prstGeom>
          <a:ln w="9525" cap="flat">
            <a:solidFill>
              <a:schemeClr val="bg1">
                <a:lumMod val="8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btfpRunningAgenda2Level116644">
            <a:extLst>
              <a:ext uri="{FF2B5EF4-FFF2-40B4-BE49-F238E27FC236}">
                <a16:creationId xmlns:a16="http://schemas.microsoft.com/office/drawing/2014/main" id="{3D164ED6-B478-9092-23F6-A79EFE8806F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0" y="944427"/>
            <a:ext cx="7302222" cy="257442"/>
            <a:chOff x="0" y="876300"/>
            <a:chExt cx="7302222" cy="257442"/>
          </a:xfrm>
        </p:grpSpPr>
        <p:sp>
          <p:nvSpPr>
            <p:cNvPr id="51" name="btfpRunningAgenda2LevelBarLeft116644">
              <a:extLst>
                <a:ext uri="{FF2B5EF4-FFF2-40B4-BE49-F238E27FC236}">
                  <a16:creationId xmlns:a16="http://schemas.microsoft.com/office/drawing/2014/main" id="{56BF348B-C949-5860-022D-E0D21FFADD79}"/>
                </a:ext>
              </a:extLst>
            </p:cNvPr>
            <p:cNvSpPr/>
            <p:nvPr/>
          </p:nvSpPr>
          <p:spPr bwMode="gray">
            <a:xfrm>
              <a:off x="0" y="876300"/>
              <a:ext cx="3912254" cy="257442"/>
            </a:xfrm>
            <a:custGeom>
              <a:avLst/>
              <a:gdLst>
                <a:gd name="connsiteX0" fmla="*/ 950801 w 6261806"/>
                <a:gd name="connsiteY0" fmla="*/ 0 h 257442"/>
                <a:gd name="connsiteX1" fmla="*/ 6261806 w 6261806"/>
                <a:gd name="connsiteY1" fmla="*/ 0 h 257442"/>
                <a:gd name="connsiteX2" fmla="*/ 6207085 w 6261806"/>
                <a:gd name="connsiteY2" fmla="*/ 257442 h 257442"/>
                <a:gd name="connsiteX3" fmla="*/ 0 w 6261806"/>
                <a:gd name="connsiteY3" fmla="*/ 257442 h 257442"/>
                <a:gd name="connsiteX0" fmla="*/ 950801 w 6207085"/>
                <a:gd name="connsiteY0" fmla="*/ 0 h 257442"/>
                <a:gd name="connsiteX1" fmla="*/ 896080 w 6207085"/>
                <a:gd name="connsiteY1" fmla="*/ 257442 h 257442"/>
                <a:gd name="connsiteX2" fmla="*/ 6207085 w 6207085"/>
                <a:gd name="connsiteY2" fmla="*/ 257442 h 257442"/>
                <a:gd name="connsiteX3" fmla="*/ 0 w 620708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87432 w 1287432"/>
                <a:gd name="connsiteY0" fmla="*/ 0 h 257442"/>
                <a:gd name="connsiteX1" fmla="*/ 1064395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388420 w 1388420"/>
                <a:gd name="connsiteY0" fmla="*/ 0 h 257442"/>
                <a:gd name="connsiteX1" fmla="*/ 1232711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548721 w 1548721"/>
                <a:gd name="connsiteY0" fmla="*/ 0 h 257442"/>
                <a:gd name="connsiteX1" fmla="*/ 1333699 w 1548721"/>
                <a:gd name="connsiteY1" fmla="*/ 257442 h 257442"/>
                <a:gd name="connsiteX2" fmla="*/ 0 w 1548721"/>
                <a:gd name="connsiteY2" fmla="*/ 257442 h 257442"/>
                <a:gd name="connsiteX3" fmla="*/ 0 w 1548721"/>
                <a:gd name="connsiteY3" fmla="*/ 0 h 257442"/>
                <a:gd name="connsiteX0" fmla="*/ 1548721 w 1548721"/>
                <a:gd name="connsiteY0" fmla="*/ 0 h 257442"/>
                <a:gd name="connsiteX1" fmla="*/ 1494000 w 1548721"/>
                <a:gd name="connsiteY1" fmla="*/ 257442 h 257442"/>
                <a:gd name="connsiteX2" fmla="*/ 0 w 1548721"/>
                <a:gd name="connsiteY2" fmla="*/ 257442 h 257442"/>
                <a:gd name="connsiteX3" fmla="*/ 0 w 1548721"/>
                <a:gd name="connsiteY3" fmla="*/ 0 h 257442"/>
                <a:gd name="connsiteX0" fmla="*/ 1548721 w 1548721"/>
                <a:gd name="connsiteY0" fmla="*/ 0 h 257442"/>
                <a:gd name="connsiteX1" fmla="*/ 1494000 w 1548721"/>
                <a:gd name="connsiteY1" fmla="*/ 257442 h 257442"/>
                <a:gd name="connsiteX2" fmla="*/ 0 w 1548721"/>
                <a:gd name="connsiteY2" fmla="*/ 257442 h 257442"/>
                <a:gd name="connsiteX3" fmla="*/ 0 w 1548721"/>
                <a:gd name="connsiteY3" fmla="*/ 0 h 257442"/>
                <a:gd name="connsiteX0" fmla="*/ 1548721 w 1548721"/>
                <a:gd name="connsiteY0" fmla="*/ 0 h 257442"/>
                <a:gd name="connsiteX1" fmla="*/ 1494000 w 1548721"/>
                <a:gd name="connsiteY1" fmla="*/ 257442 h 257442"/>
                <a:gd name="connsiteX2" fmla="*/ 0 w 1548721"/>
                <a:gd name="connsiteY2" fmla="*/ 257442 h 257442"/>
                <a:gd name="connsiteX3" fmla="*/ 0 w 1548721"/>
                <a:gd name="connsiteY3" fmla="*/ 0 h 257442"/>
                <a:gd name="connsiteX0" fmla="*/ 1717037 w 1717037"/>
                <a:gd name="connsiteY0" fmla="*/ 0 h 257442"/>
                <a:gd name="connsiteX1" fmla="*/ 1494000 w 1717037"/>
                <a:gd name="connsiteY1" fmla="*/ 257442 h 257442"/>
                <a:gd name="connsiteX2" fmla="*/ 0 w 1717037"/>
                <a:gd name="connsiteY2" fmla="*/ 257442 h 257442"/>
                <a:gd name="connsiteX3" fmla="*/ 0 w 1717037"/>
                <a:gd name="connsiteY3" fmla="*/ 0 h 257442"/>
                <a:gd name="connsiteX0" fmla="*/ 1717037 w 1717037"/>
                <a:gd name="connsiteY0" fmla="*/ 0 h 257442"/>
                <a:gd name="connsiteX1" fmla="*/ 1662316 w 1717037"/>
                <a:gd name="connsiteY1" fmla="*/ 257442 h 257442"/>
                <a:gd name="connsiteX2" fmla="*/ 0 w 1717037"/>
                <a:gd name="connsiteY2" fmla="*/ 257442 h 257442"/>
                <a:gd name="connsiteX3" fmla="*/ 0 w 1717037"/>
                <a:gd name="connsiteY3" fmla="*/ 0 h 257442"/>
                <a:gd name="connsiteX0" fmla="*/ 1717037 w 1717037"/>
                <a:gd name="connsiteY0" fmla="*/ 0 h 257442"/>
                <a:gd name="connsiteX1" fmla="*/ 1662316 w 1717037"/>
                <a:gd name="connsiteY1" fmla="*/ 257442 h 257442"/>
                <a:gd name="connsiteX2" fmla="*/ 0 w 1717037"/>
                <a:gd name="connsiteY2" fmla="*/ 257442 h 257442"/>
                <a:gd name="connsiteX3" fmla="*/ 0 w 1717037"/>
                <a:gd name="connsiteY3" fmla="*/ 0 h 257442"/>
                <a:gd name="connsiteX0" fmla="*/ 1717037 w 1717037"/>
                <a:gd name="connsiteY0" fmla="*/ 0 h 257442"/>
                <a:gd name="connsiteX1" fmla="*/ 1662316 w 1717037"/>
                <a:gd name="connsiteY1" fmla="*/ 257442 h 257442"/>
                <a:gd name="connsiteX2" fmla="*/ 0 w 1717037"/>
                <a:gd name="connsiteY2" fmla="*/ 257442 h 257442"/>
                <a:gd name="connsiteX3" fmla="*/ 0 w 1717037"/>
                <a:gd name="connsiteY3" fmla="*/ 0 h 257442"/>
                <a:gd name="connsiteX0" fmla="*/ 1894969 w 1894969"/>
                <a:gd name="connsiteY0" fmla="*/ 0 h 257442"/>
                <a:gd name="connsiteX1" fmla="*/ 1662316 w 1894969"/>
                <a:gd name="connsiteY1" fmla="*/ 257442 h 257442"/>
                <a:gd name="connsiteX2" fmla="*/ 0 w 1894969"/>
                <a:gd name="connsiteY2" fmla="*/ 257442 h 257442"/>
                <a:gd name="connsiteX3" fmla="*/ 0 w 1894969"/>
                <a:gd name="connsiteY3" fmla="*/ 0 h 257442"/>
                <a:gd name="connsiteX0" fmla="*/ 1894969 w 1894969"/>
                <a:gd name="connsiteY0" fmla="*/ 0 h 257442"/>
                <a:gd name="connsiteX1" fmla="*/ 1840248 w 1894969"/>
                <a:gd name="connsiteY1" fmla="*/ 257442 h 257442"/>
                <a:gd name="connsiteX2" fmla="*/ 0 w 1894969"/>
                <a:gd name="connsiteY2" fmla="*/ 257442 h 257442"/>
                <a:gd name="connsiteX3" fmla="*/ 0 w 1894969"/>
                <a:gd name="connsiteY3" fmla="*/ 0 h 257442"/>
                <a:gd name="connsiteX0" fmla="*/ 1894969 w 1894969"/>
                <a:gd name="connsiteY0" fmla="*/ 0 h 257442"/>
                <a:gd name="connsiteX1" fmla="*/ 1840248 w 1894969"/>
                <a:gd name="connsiteY1" fmla="*/ 257442 h 257442"/>
                <a:gd name="connsiteX2" fmla="*/ 0 w 1894969"/>
                <a:gd name="connsiteY2" fmla="*/ 257442 h 257442"/>
                <a:gd name="connsiteX3" fmla="*/ 0 w 1894969"/>
                <a:gd name="connsiteY3" fmla="*/ 0 h 257442"/>
                <a:gd name="connsiteX0" fmla="*/ 1894969 w 1894969"/>
                <a:gd name="connsiteY0" fmla="*/ 0 h 257442"/>
                <a:gd name="connsiteX1" fmla="*/ 1840248 w 1894969"/>
                <a:gd name="connsiteY1" fmla="*/ 257442 h 257442"/>
                <a:gd name="connsiteX2" fmla="*/ 0 w 1894969"/>
                <a:gd name="connsiteY2" fmla="*/ 257442 h 257442"/>
                <a:gd name="connsiteX3" fmla="*/ 0 w 1894969"/>
                <a:gd name="connsiteY3" fmla="*/ 0 h 257442"/>
                <a:gd name="connsiteX0" fmla="*/ 2047255 w 2047255"/>
                <a:gd name="connsiteY0" fmla="*/ 0 h 257442"/>
                <a:gd name="connsiteX1" fmla="*/ 1840248 w 2047255"/>
                <a:gd name="connsiteY1" fmla="*/ 257442 h 257442"/>
                <a:gd name="connsiteX2" fmla="*/ 0 w 2047255"/>
                <a:gd name="connsiteY2" fmla="*/ 257442 h 257442"/>
                <a:gd name="connsiteX3" fmla="*/ 0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0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0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0 w 2047255"/>
                <a:gd name="connsiteY3" fmla="*/ 0 h 257442"/>
                <a:gd name="connsiteX0" fmla="*/ 2148244 w 2148244"/>
                <a:gd name="connsiteY0" fmla="*/ 0 h 257442"/>
                <a:gd name="connsiteX1" fmla="*/ 1992534 w 2148244"/>
                <a:gd name="connsiteY1" fmla="*/ 257442 h 257442"/>
                <a:gd name="connsiteX2" fmla="*/ 0 w 2148244"/>
                <a:gd name="connsiteY2" fmla="*/ 257442 h 257442"/>
                <a:gd name="connsiteX3" fmla="*/ 0 w 2148244"/>
                <a:gd name="connsiteY3" fmla="*/ 0 h 257442"/>
                <a:gd name="connsiteX0" fmla="*/ 2148244 w 2148244"/>
                <a:gd name="connsiteY0" fmla="*/ 0 h 257442"/>
                <a:gd name="connsiteX1" fmla="*/ 2093522 w 2148244"/>
                <a:gd name="connsiteY1" fmla="*/ 257442 h 257442"/>
                <a:gd name="connsiteX2" fmla="*/ 0 w 2148244"/>
                <a:gd name="connsiteY2" fmla="*/ 257442 h 257442"/>
                <a:gd name="connsiteX3" fmla="*/ 0 w 2148244"/>
                <a:gd name="connsiteY3" fmla="*/ 0 h 257442"/>
                <a:gd name="connsiteX0" fmla="*/ 2148245 w 2148245"/>
                <a:gd name="connsiteY0" fmla="*/ 0 h 257442"/>
                <a:gd name="connsiteX1" fmla="*/ 2093523 w 2148245"/>
                <a:gd name="connsiteY1" fmla="*/ 257442 h 257442"/>
                <a:gd name="connsiteX2" fmla="*/ 0 w 2148245"/>
                <a:gd name="connsiteY2" fmla="*/ 257442 h 257442"/>
                <a:gd name="connsiteX3" fmla="*/ 1 w 2148245"/>
                <a:gd name="connsiteY3" fmla="*/ 0 h 257442"/>
                <a:gd name="connsiteX0" fmla="*/ 2148245 w 2148245"/>
                <a:gd name="connsiteY0" fmla="*/ 0 h 257442"/>
                <a:gd name="connsiteX1" fmla="*/ 2093523 w 2148245"/>
                <a:gd name="connsiteY1" fmla="*/ 257442 h 257442"/>
                <a:gd name="connsiteX2" fmla="*/ 0 w 2148245"/>
                <a:gd name="connsiteY2" fmla="*/ 257442 h 257442"/>
                <a:gd name="connsiteX3" fmla="*/ 1 w 2148245"/>
                <a:gd name="connsiteY3" fmla="*/ 0 h 257442"/>
                <a:gd name="connsiteX0" fmla="*/ 2300531 w 2300531"/>
                <a:gd name="connsiteY0" fmla="*/ 0 h 257442"/>
                <a:gd name="connsiteX1" fmla="*/ 2093523 w 2300531"/>
                <a:gd name="connsiteY1" fmla="*/ 257442 h 257442"/>
                <a:gd name="connsiteX2" fmla="*/ 0 w 2300531"/>
                <a:gd name="connsiteY2" fmla="*/ 257442 h 257442"/>
                <a:gd name="connsiteX3" fmla="*/ 1 w 2300531"/>
                <a:gd name="connsiteY3" fmla="*/ 0 h 257442"/>
                <a:gd name="connsiteX0" fmla="*/ 2300531 w 2300531"/>
                <a:gd name="connsiteY0" fmla="*/ 0 h 257442"/>
                <a:gd name="connsiteX1" fmla="*/ 2245810 w 2300531"/>
                <a:gd name="connsiteY1" fmla="*/ 257442 h 257442"/>
                <a:gd name="connsiteX2" fmla="*/ 0 w 2300531"/>
                <a:gd name="connsiteY2" fmla="*/ 257442 h 257442"/>
                <a:gd name="connsiteX3" fmla="*/ 1 w 2300531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0 w 2300530"/>
                <a:gd name="connsiteY3" fmla="*/ 0 h 257442"/>
                <a:gd name="connsiteX0" fmla="*/ 2300531 w 2300531"/>
                <a:gd name="connsiteY0" fmla="*/ 0 h 257442"/>
                <a:gd name="connsiteX1" fmla="*/ 2245810 w 2300531"/>
                <a:gd name="connsiteY1" fmla="*/ 257442 h 257442"/>
                <a:gd name="connsiteX2" fmla="*/ 1 w 2300531"/>
                <a:gd name="connsiteY2" fmla="*/ 257442 h 257442"/>
                <a:gd name="connsiteX3" fmla="*/ 0 w 2300531"/>
                <a:gd name="connsiteY3" fmla="*/ 0 h 257442"/>
                <a:gd name="connsiteX0" fmla="*/ 2460831 w 2460831"/>
                <a:gd name="connsiteY0" fmla="*/ 0 h 257442"/>
                <a:gd name="connsiteX1" fmla="*/ 2245810 w 2460831"/>
                <a:gd name="connsiteY1" fmla="*/ 257442 h 257442"/>
                <a:gd name="connsiteX2" fmla="*/ 1 w 2460831"/>
                <a:gd name="connsiteY2" fmla="*/ 257442 h 257442"/>
                <a:gd name="connsiteX3" fmla="*/ 0 w 2460831"/>
                <a:gd name="connsiteY3" fmla="*/ 0 h 257442"/>
                <a:gd name="connsiteX0" fmla="*/ 2460831 w 2460831"/>
                <a:gd name="connsiteY0" fmla="*/ 0 h 257442"/>
                <a:gd name="connsiteX1" fmla="*/ 2406110 w 2460831"/>
                <a:gd name="connsiteY1" fmla="*/ 257442 h 257442"/>
                <a:gd name="connsiteX2" fmla="*/ 1 w 2460831"/>
                <a:gd name="connsiteY2" fmla="*/ 257442 h 257442"/>
                <a:gd name="connsiteX3" fmla="*/ 0 w 2460831"/>
                <a:gd name="connsiteY3" fmla="*/ 0 h 257442"/>
                <a:gd name="connsiteX0" fmla="*/ 2460831 w 2460831"/>
                <a:gd name="connsiteY0" fmla="*/ 0 h 257442"/>
                <a:gd name="connsiteX1" fmla="*/ 2406110 w 2460831"/>
                <a:gd name="connsiteY1" fmla="*/ 257442 h 257442"/>
                <a:gd name="connsiteX2" fmla="*/ 1 w 2460831"/>
                <a:gd name="connsiteY2" fmla="*/ 257442 h 257442"/>
                <a:gd name="connsiteX3" fmla="*/ 0 w 2460831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0 w 2460830"/>
                <a:gd name="connsiteY3" fmla="*/ 0 h 257442"/>
                <a:gd name="connsiteX0" fmla="*/ 2621129 w 2621129"/>
                <a:gd name="connsiteY0" fmla="*/ 0 h 257442"/>
                <a:gd name="connsiteX1" fmla="*/ 2406109 w 2621129"/>
                <a:gd name="connsiteY1" fmla="*/ 257442 h 257442"/>
                <a:gd name="connsiteX2" fmla="*/ 0 w 2621129"/>
                <a:gd name="connsiteY2" fmla="*/ 257442 h 257442"/>
                <a:gd name="connsiteX3" fmla="*/ 0 w 2621129"/>
                <a:gd name="connsiteY3" fmla="*/ 0 h 257442"/>
                <a:gd name="connsiteX0" fmla="*/ 2621129 w 2621129"/>
                <a:gd name="connsiteY0" fmla="*/ 0 h 257442"/>
                <a:gd name="connsiteX1" fmla="*/ 2566408 w 2621129"/>
                <a:gd name="connsiteY1" fmla="*/ 257442 h 257442"/>
                <a:gd name="connsiteX2" fmla="*/ 0 w 2621129"/>
                <a:gd name="connsiteY2" fmla="*/ 257442 h 257442"/>
                <a:gd name="connsiteX3" fmla="*/ 0 w 2621129"/>
                <a:gd name="connsiteY3" fmla="*/ 0 h 257442"/>
                <a:gd name="connsiteX0" fmla="*/ 2621130 w 2621130"/>
                <a:gd name="connsiteY0" fmla="*/ 0 h 257442"/>
                <a:gd name="connsiteX1" fmla="*/ 2566409 w 2621130"/>
                <a:gd name="connsiteY1" fmla="*/ 257442 h 257442"/>
                <a:gd name="connsiteX2" fmla="*/ 0 w 2621130"/>
                <a:gd name="connsiteY2" fmla="*/ 257442 h 257442"/>
                <a:gd name="connsiteX3" fmla="*/ 1 w 2621130"/>
                <a:gd name="connsiteY3" fmla="*/ 0 h 257442"/>
                <a:gd name="connsiteX0" fmla="*/ 2621130 w 2621130"/>
                <a:gd name="connsiteY0" fmla="*/ 0 h 257442"/>
                <a:gd name="connsiteX1" fmla="*/ 2566409 w 2621130"/>
                <a:gd name="connsiteY1" fmla="*/ 257442 h 257442"/>
                <a:gd name="connsiteX2" fmla="*/ 0 w 2621130"/>
                <a:gd name="connsiteY2" fmla="*/ 257442 h 257442"/>
                <a:gd name="connsiteX3" fmla="*/ 0 w 2621130"/>
                <a:gd name="connsiteY3" fmla="*/ 0 h 257442"/>
                <a:gd name="connsiteX0" fmla="*/ 1540706 w 2566409"/>
                <a:gd name="connsiteY0" fmla="*/ 0 h 257442"/>
                <a:gd name="connsiteX1" fmla="*/ 2566409 w 2566409"/>
                <a:gd name="connsiteY1" fmla="*/ 257442 h 257442"/>
                <a:gd name="connsiteX2" fmla="*/ 0 w 2566409"/>
                <a:gd name="connsiteY2" fmla="*/ 257442 h 257442"/>
                <a:gd name="connsiteX3" fmla="*/ 0 w 2566409"/>
                <a:gd name="connsiteY3" fmla="*/ 0 h 257442"/>
                <a:gd name="connsiteX0" fmla="*/ 1540706 w 1540706"/>
                <a:gd name="connsiteY0" fmla="*/ 0 h 257442"/>
                <a:gd name="connsiteX1" fmla="*/ 1485986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540706 w 1540706"/>
                <a:gd name="connsiteY0" fmla="*/ 0 h 257442"/>
                <a:gd name="connsiteX1" fmla="*/ 1485986 w 1540706"/>
                <a:gd name="connsiteY1" fmla="*/ 257442 h 257442"/>
                <a:gd name="connsiteX2" fmla="*/ 1 w 1540706"/>
                <a:gd name="connsiteY2" fmla="*/ 257442 h 257442"/>
                <a:gd name="connsiteX3" fmla="*/ 0 w 1540706"/>
                <a:gd name="connsiteY3" fmla="*/ 0 h 257442"/>
                <a:gd name="connsiteX0" fmla="*/ 1540705 w 1540705"/>
                <a:gd name="connsiteY0" fmla="*/ 0 h 257442"/>
                <a:gd name="connsiteX1" fmla="*/ 1485985 w 1540705"/>
                <a:gd name="connsiteY1" fmla="*/ 257442 h 257442"/>
                <a:gd name="connsiteX2" fmla="*/ 0 w 1540705"/>
                <a:gd name="connsiteY2" fmla="*/ 257442 h 257442"/>
                <a:gd name="connsiteX3" fmla="*/ 0 w 1540705"/>
                <a:gd name="connsiteY3" fmla="*/ 0 h 257442"/>
                <a:gd name="connsiteX0" fmla="*/ 1701007 w 1701007"/>
                <a:gd name="connsiteY0" fmla="*/ 0 h 257442"/>
                <a:gd name="connsiteX1" fmla="*/ 1485985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869321 w 1869321"/>
                <a:gd name="connsiteY0" fmla="*/ 0 h 257442"/>
                <a:gd name="connsiteX1" fmla="*/ 1646286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2055270 w 2055270"/>
                <a:gd name="connsiteY0" fmla="*/ 0 h 257442"/>
                <a:gd name="connsiteX1" fmla="*/ 1814600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0 w 2055270"/>
                <a:gd name="connsiteY0" fmla="*/ 0 h 257442"/>
                <a:gd name="connsiteX1" fmla="*/ 2000548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950802 w 2000549"/>
                <a:gd name="connsiteY0" fmla="*/ 0 h 257442"/>
                <a:gd name="connsiteX1" fmla="*/ 2000549 w 2000549"/>
                <a:gd name="connsiteY1" fmla="*/ 257442 h 257442"/>
                <a:gd name="connsiteX2" fmla="*/ 0 w 2000549"/>
                <a:gd name="connsiteY2" fmla="*/ 257442 h 257442"/>
                <a:gd name="connsiteX3" fmla="*/ 1 w 2000549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0 w 950802"/>
                <a:gd name="connsiteY2" fmla="*/ 257442 h 257442"/>
                <a:gd name="connsiteX3" fmla="*/ 1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4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1 w 1119117"/>
                <a:gd name="connsiteY3" fmla="*/ 0 h 257442"/>
                <a:gd name="connsiteX0" fmla="*/ 1287433 w 1287433"/>
                <a:gd name="connsiteY0" fmla="*/ 0 h 257442"/>
                <a:gd name="connsiteX1" fmla="*/ 1064395 w 1287433"/>
                <a:gd name="connsiteY1" fmla="*/ 257442 h 257442"/>
                <a:gd name="connsiteX2" fmla="*/ 0 w 1287433"/>
                <a:gd name="connsiteY2" fmla="*/ 257442 h 257442"/>
                <a:gd name="connsiteX3" fmla="*/ 1 w 1287433"/>
                <a:gd name="connsiteY3" fmla="*/ 0 h 257442"/>
                <a:gd name="connsiteX0" fmla="*/ 1287433 w 1287433"/>
                <a:gd name="connsiteY0" fmla="*/ 0 h 257442"/>
                <a:gd name="connsiteX1" fmla="*/ 1232712 w 1287433"/>
                <a:gd name="connsiteY1" fmla="*/ 257442 h 257442"/>
                <a:gd name="connsiteX2" fmla="*/ 0 w 1287433"/>
                <a:gd name="connsiteY2" fmla="*/ 257442 h 257442"/>
                <a:gd name="connsiteX3" fmla="*/ 1 w 1287433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3 w 1287433"/>
                <a:gd name="connsiteY0" fmla="*/ 0 h 257442"/>
                <a:gd name="connsiteX1" fmla="*/ 1232712 w 1287433"/>
                <a:gd name="connsiteY1" fmla="*/ 257442 h 257442"/>
                <a:gd name="connsiteX2" fmla="*/ 1 w 1287433"/>
                <a:gd name="connsiteY2" fmla="*/ 257442 h 257442"/>
                <a:gd name="connsiteX3" fmla="*/ 0 w 1287433"/>
                <a:gd name="connsiteY3" fmla="*/ 0 h 257442"/>
                <a:gd name="connsiteX0" fmla="*/ 1388421 w 1388421"/>
                <a:gd name="connsiteY0" fmla="*/ 0 h 257442"/>
                <a:gd name="connsiteX1" fmla="*/ 1232712 w 1388421"/>
                <a:gd name="connsiteY1" fmla="*/ 257442 h 257442"/>
                <a:gd name="connsiteX2" fmla="*/ 1 w 1388421"/>
                <a:gd name="connsiteY2" fmla="*/ 257442 h 257442"/>
                <a:gd name="connsiteX3" fmla="*/ 0 w 1388421"/>
                <a:gd name="connsiteY3" fmla="*/ 0 h 257442"/>
                <a:gd name="connsiteX0" fmla="*/ 1388421 w 1388421"/>
                <a:gd name="connsiteY0" fmla="*/ 0 h 257442"/>
                <a:gd name="connsiteX1" fmla="*/ 1333700 w 1388421"/>
                <a:gd name="connsiteY1" fmla="*/ 257442 h 257442"/>
                <a:gd name="connsiteX2" fmla="*/ 1 w 1388421"/>
                <a:gd name="connsiteY2" fmla="*/ 257442 h 257442"/>
                <a:gd name="connsiteX3" fmla="*/ 0 w 1388421"/>
                <a:gd name="connsiteY3" fmla="*/ 0 h 257442"/>
                <a:gd name="connsiteX0" fmla="*/ 1388421 w 1388421"/>
                <a:gd name="connsiteY0" fmla="*/ 0 h 257442"/>
                <a:gd name="connsiteX1" fmla="*/ 1333700 w 1388421"/>
                <a:gd name="connsiteY1" fmla="*/ 257442 h 257442"/>
                <a:gd name="connsiteX2" fmla="*/ 1 w 1388421"/>
                <a:gd name="connsiteY2" fmla="*/ 257442 h 257442"/>
                <a:gd name="connsiteX3" fmla="*/ 0 w 1388421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540705 w 1540705"/>
                <a:gd name="connsiteY0" fmla="*/ 0 h 257442"/>
                <a:gd name="connsiteX1" fmla="*/ 1333699 w 1540705"/>
                <a:gd name="connsiteY1" fmla="*/ 257442 h 257442"/>
                <a:gd name="connsiteX2" fmla="*/ 0 w 1540705"/>
                <a:gd name="connsiteY2" fmla="*/ 257442 h 257442"/>
                <a:gd name="connsiteX3" fmla="*/ 0 w 1540705"/>
                <a:gd name="connsiteY3" fmla="*/ 0 h 257442"/>
                <a:gd name="connsiteX0" fmla="*/ 1540705 w 1540705"/>
                <a:gd name="connsiteY0" fmla="*/ 0 h 257442"/>
                <a:gd name="connsiteX1" fmla="*/ 1485984 w 1540705"/>
                <a:gd name="connsiteY1" fmla="*/ 257442 h 257442"/>
                <a:gd name="connsiteX2" fmla="*/ 0 w 1540705"/>
                <a:gd name="connsiteY2" fmla="*/ 257442 h 257442"/>
                <a:gd name="connsiteX3" fmla="*/ 0 w 1540705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1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701007 w 1701007"/>
                <a:gd name="connsiteY0" fmla="*/ 0 h 257442"/>
                <a:gd name="connsiteX1" fmla="*/ 1485985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869321 w 1869321"/>
                <a:gd name="connsiteY0" fmla="*/ 0 h 257442"/>
                <a:gd name="connsiteX1" fmla="*/ 1646286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2055270 w 2055270"/>
                <a:gd name="connsiteY0" fmla="*/ 0 h 257442"/>
                <a:gd name="connsiteX1" fmla="*/ 1814600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0 w 2055270"/>
                <a:gd name="connsiteY0" fmla="*/ 0 h 257442"/>
                <a:gd name="connsiteX1" fmla="*/ 2000548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156260 w 2156260"/>
                <a:gd name="connsiteY0" fmla="*/ 0 h 257442"/>
                <a:gd name="connsiteX1" fmla="*/ 2000549 w 2156260"/>
                <a:gd name="connsiteY1" fmla="*/ 257442 h 257442"/>
                <a:gd name="connsiteX2" fmla="*/ 0 w 2156260"/>
                <a:gd name="connsiteY2" fmla="*/ 257442 h 257442"/>
                <a:gd name="connsiteX3" fmla="*/ 1 w 2156260"/>
                <a:gd name="connsiteY3" fmla="*/ 0 h 257442"/>
                <a:gd name="connsiteX0" fmla="*/ 2156260 w 2156260"/>
                <a:gd name="connsiteY0" fmla="*/ 0 h 257442"/>
                <a:gd name="connsiteX1" fmla="*/ 2101538 w 2156260"/>
                <a:gd name="connsiteY1" fmla="*/ 257442 h 257442"/>
                <a:gd name="connsiteX2" fmla="*/ 0 w 2156260"/>
                <a:gd name="connsiteY2" fmla="*/ 257442 h 257442"/>
                <a:gd name="connsiteX3" fmla="*/ 1 w 2156260"/>
                <a:gd name="connsiteY3" fmla="*/ 0 h 257442"/>
                <a:gd name="connsiteX0" fmla="*/ 2156260 w 2156260"/>
                <a:gd name="connsiteY0" fmla="*/ 0 h 257442"/>
                <a:gd name="connsiteX1" fmla="*/ 2101538 w 2156260"/>
                <a:gd name="connsiteY1" fmla="*/ 257442 h 257442"/>
                <a:gd name="connsiteX2" fmla="*/ 0 w 2156260"/>
                <a:gd name="connsiteY2" fmla="*/ 257442 h 257442"/>
                <a:gd name="connsiteX3" fmla="*/ 1 w 2156260"/>
                <a:gd name="connsiteY3" fmla="*/ 0 h 257442"/>
                <a:gd name="connsiteX0" fmla="*/ 2156260 w 2156260"/>
                <a:gd name="connsiteY0" fmla="*/ 0 h 257442"/>
                <a:gd name="connsiteX1" fmla="*/ 2101538 w 2156260"/>
                <a:gd name="connsiteY1" fmla="*/ 257442 h 257442"/>
                <a:gd name="connsiteX2" fmla="*/ 0 w 2156260"/>
                <a:gd name="connsiteY2" fmla="*/ 257442 h 257442"/>
                <a:gd name="connsiteX3" fmla="*/ 0 w 2156260"/>
                <a:gd name="connsiteY3" fmla="*/ 0 h 257442"/>
                <a:gd name="connsiteX0" fmla="*/ 2318868 w 2318868"/>
                <a:gd name="connsiteY0" fmla="*/ 0 h 257442"/>
                <a:gd name="connsiteX1" fmla="*/ 2101538 w 2318868"/>
                <a:gd name="connsiteY1" fmla="*/ 257442 h 257442"/>
                <a:gd name="connsiteX2" fmla="*/ 0 w 2318868"/>
                <a:gd name="connsiteY2" fmla="*/ 257442 h 257442"/>
                <a:gd name="connsiteX3" fmla="*/ 0 w 2318868"/>
                <a:gd name="connsiteY3" fmla="*/ 0 h 257442"/>
                <a:gd name="connsiteX0" fmla="*/ 2318868 w 2318868"/>
                <a:gd name="connsiteY0" fmla="*/ 0 h 257442"/>
                <a:gd name="connsiteX1" fmla="*/ 2264147 w 2318868"/>
                <a:gd name="connsiteY1" fmla="*/ 257442 h 257442"/>
                <a:gd name="connsiteX2" fmla="*/ 0 w 2318868"/>
                <a:gd name="connsiteY2" fmla="*/ 257442 h 257442"/>
                <a:gd name="connsiteX3" fmla="*/ 0 w 2318868"/>
                <a:gd name="connsiteY3" fmla="*/ 0 h 257442"/>
                <a:gd name="connsiteX0" fmla="*/ 2318868 w 2318868"/>
                <a:gd name="connsiteY0" fmla="*/ 0 h 257442"/>
                <a:gd name="connsiteX1" fmla="*/ 2264147 w 2318868"/>
                <a:gd name="connsiteY1" fmla="*/ 257442 h 257442"/>
                <a:gd name="connsiteX2" fmla="*/ 0 w 2318868"/>
                <a:gd name="connsiteY2" fmla="*/ 257442 h 257442"/>
                <a:gd name="connsiteX3" fmla="*/ 0 w 2318868"/>
                <a:gd name="connsiteY3" fmla="*/ 0 h 257442"/>
                <a:gd name="connsiteX0" fmla="*/ 2318868 w 2318868"/>
                <a:gd name="connsiteY0" fmla="*/ 0 h 257442"/>
                <a:gd name="connsiteX1" fmla="*/ 2264147 w 2318868"/>
                <a:gd name="connsiteY1" fmla="*/ 257442 h 257442"/>
                <a:gd name="connsiteX2" fmla="*/ 0 w 2318868"/>
                <a:gd name="connsiteY2" fmla="*/ 257442 h 257442"/>
                <a:gd name="connsiteX3" fmla="*/ 0 w 2318868"/>
                <a:gd name="connsiteY3" fmla="*/ 0 h 257442"/>
                <a:gd name="connsiteX0" fmla="*/ 2487183 w 2487183"/>
                <a:gd name="connsiteY0" fmla="*/ 0 h 257442"/>
                <a:gd name="connsiteX1" fmla="*/ 2264147 w 2487183"/>
                <a:gd name="connsiteY1" fmla="*/ 257442 h 257442"/>
                <a:gd name="connsiteX2" fmla="*/ 0 w 2487183"/>
                <a:gd name="connsiteY2" fmla="*/ 257442 h 257442"/>
                <a:gd name="connsiteX3" fmla="*/ 0 w 2487183"/>
                <a:gd name="connsiteY3" fmla="*/ 0 h 257442"/>
                <a:gd name="connsiteX0" fmla="*/ 2487183 w 2487183"/>
                <a:gd name="connsiteY0" fmla="*/ 0 h 257442"/>
                <a:gd name="connsiteX1" fmla="*/ 2432462 w 2487183"/>
                <a:gd name="connsiteY1" fmla="*/ 257442 h 257442"/>
                <a:gd name="connsiteX2" fmla="*/ 0 w 2487183"/>
                <a:gd name="connsiteY2" fmla="*/ 257442 h 257442"/>
                <a:gd name="connsiteX3" fmla="*/ 0 w 2487183"/>
                <a:gd name="connsiteY3" fmla="*/ 0 h 257442"/>
                <a:gd name="connsiteX0" fmla="*/ 2487183 w 2487183"/>
                <a:gd name="connsiteY0" fmla="*/ 0 h 257442"/>
                <a:gd name="connsiteX1" fmla="*/ 2432462 w 2487183"/>
                <a:gd name="connsiteY1" fmla="*/ 257442 h 257442"/>
                <a:gd name="connsiteX2" fmla="*/ 0 w 2487183"/>
                <a:gd name="connsiteY2" fmla="*/ 257442 h 257442"/>
                <a:gd name="connsiteX3" fmla="*/ 0 w 2487183"/>
                <a:gd name="connsiteY3" fmla="*/ 0 h 257442"/>
                <a:gd name="connsiteX0" fmla="*/ 2487183 w 2487183"/>
                <a:gd name="connsiteY0" fmla="*/ 0 h 257442"/>
                <a:gd name="connsiteX1" fmla="*/ 2432462 w 2487183"/>
                <a:gd name="connsiteY1" fmla="*/ 257442 h 257442"/>
                <a:gd name="connsiteX2" fmla="*/ 0 w 2487183"/>
                <a:gd name="connsiteY2" fmla="*/ 257442 h 257442"/>
                <a:gd name="connsiteX3" fmla="*/ 0 w 2487183"/>
                <a:gd name="connsiteY3" fmla="*/ 0 h 257442"/>
                <a:gd name="connsiteX0" fmla="*/ 2655499 w 2655499"/>
                <a:gd name="connsiteY0" fmla="*/ 0 h 257442"/>
                <a:gd name="connsiteX1" fmla="*/ 2432462 w 2655499"/>
                <a:gd name="connsiteY1" fmla="*/ 257442 h 257442"/>
                <a:gd name="connsiteX2" fmla="*/ 0 w 2655499"/>
                <a:gd name="connsiteY2" fmla="*/ 257442 h 257442"/>
                <a:gd name="connsiteX3" fmla="*/ 0 w 2655499"/>
                <a:gd name="connsiteY3" fmla="*/ 0 h 257442"/>
                <a:gd name="connsiteX0" fmla="*/ 2655499 w 2655499"/>
                <a:gd name="connsiteY0" fmla="*/ 0 h 257442"/>
                <a:gd name="connsiteX1" fmla="*/ 2600778 w 2655499"/>
                <a:gd name="connsiteY1" fmla="*/ 257442 h 257442"/>
                <a:gd name="connsiteX2" fmla="*/ 0 w 2655499"/>
                <a:gd name="connsiteY2" fmla="*/ 257442 h 257442"/>
                <a:gd name="connsiteX3" fmla="*/ 0 w 2655499"/>
                <a:gd name="connsiteY3" fmla="*/ 0 h 257442"/>
                <a:gd name="connsiteX0" fmla="*/ 2655499 w 2655499"/>
                <a:gd name="connsiteY0" fmla="*/ 0 h 257442"/>
                <a:gd name="connsiteX1" fmla="*/ 2600778 w 2655499"/>
                <a:gd name="connsiteY1" fmla="*/ 257442 h 257442"/>
                <a:gd name="connsiteX2" fmla="*/ 0 w 2655499"/>
                <a:gd name="connsiteY2" fmla="*/ 257442 h 257442"/>
                <a:gd name="connsiteX3" fmla="*/ 0 w 2655499"/>
                <a:gd name="connsiteY3" fmla="*/ 0 h 257442"/>
                <a:gd name="connsiteX0" fmla="*/ 2655499 w 2655499"/>
                <a:gd name="connsiteY0" fmla="*/ 0 h 257442"/>
                <a:gd name="connsiteX1" fmla="*/ 2600778 w 2655499"/>
                <a:gd name="connsiteY1" fmla="*/ 257442 h 257442"/>
                <a:gd name="connsiteX2" fmla="*/ 0 w 2655499"/>
                <a:gd name="connsiteY2" fmla="*/ 257442 h 257442"/>
                <a:gd name="connsiteX3" fmla="*/ 0 w 2655499"/>
                <a:gd name="connsiteY3" fmla="*/ 0 h 257442"/>
                <a:gd name="connsiteX0" fmla="*/ 2756487 w 2756487"/>
                <a:gd name="connsiteY0" fmla="*/ 0 h 257442"/>
                <a:gd name="connsiteX1" fmla="*/ 2600778 w 2756487"/>
                <a:gd name="connsiteY1" fmla="*/ 257442 h 257442"/>
                <a:gd name="connsiteX2" fmla="*/ 0 w 2756487"/>
                <a:gd name="connsiteY2" fmla="*/ 257442 h 257442"/>
                <a:gd name="connsiteX3" fmla="*/ 0 w 2756487"/>
                <a:gd name="connsiteY3" fmla="*/ 0 h 257442"/>
                <a:gd name="connsiteX0" fmla="*/ 2756487 w 2756487"/>
                <a:gd name="connsiteY0" fmla="*/ 0 h 257442"/>
                <a:gd name="connsiteX1" fmla="*/ 2701766 w 2756487"/>
                <a:gd name="connsiteY1" fmla="*/ 257442 h 257442"/>
                <a:gd name="connsiteX2" fmla="*/ 0 w 2756487"/>
                <a:gd name="connsiteY2" fmla="*/ 257442 h 257442"/>
                <a:gd name="connsiteX3" fmla="*/ 0 w 2756487"/>
                <a:gd name="connsiteY3" fmla="*/ 0 h 257442"/>
                <a:gd name="connsiteX0" fmla="*/ 2756487 w 2756487"/>
                <a:gd name="connsiteY0" fmla="*/ 0 h 257442"/>
                <a:gd name="connsiteX1" fmla="*/ 2701766 w 2756487"/>
                <a:gd name="connsiteY1" fmla="*/ 257442 h 257442"/>
                <a:gd name="connsiteX2" fmla="*/ 0 w 2756487"/>
                <a:gd name="connsiteY2" fmla="*/ 257442 h 257442"/>
                <a:gd name="connsiteX3" fmla="*/ 0 w 2756487"/>
                <a:gd name="connsiteY3" fmla="*/ 0 h 257442"/>
                <a:gd name="connsiteX0" fmla="*/ 2756487 w 2756487"/>
                <a:gd name="connsiteY0" fmla="*/ 0 h 257442"/>
                <a:gd name="connsiteX1" fmla="*/ 2701766 w 2756487"/>
                <a:gd name="connsiteY1" fmla="*/ 257442 h 257442"/>
                <a:gd name="connsiteX2" fmla="*/ 0 w 2756487"/>
                <a:gd name="connsiteY2" fmla="*/ 257442 h 257442"/>
                <a:gd name="connsiteX3" fmla="*/ 0 w 2756487"/>
                <a:gd name="connsiteY3" fmla="*/ 0 h 257442"/>
                <a:gd name="connsiteX0" fmla="*/ 2916788 w 2916788"/>
                <a:gd name="connsiteY0" fmla="*/ 0 h 257442"/>
                <a:gd name="connsiteX1" fmla="*/ 2701766 w 2916788"/>
                <a:gd name="connsiteY1" fmla="*/ 257442 h 257442"/>
                <a:gd name="connsiteX2" fmla="*/ 0 w 2916788"/>
                <a:gd name="connsiteY2" fmla="*/ 257442 h 257442"/>
                <a:gd name="connsiteX3" fmla="*/ 0 w 2916788"/>
                <a:gd name="connsiteY3" fmla="*/ 0 h 257442"/>
                <a:gd name="connsiteX0" fmla="*/ 2916788 w 2916788"/>
                <a:gd name="connsiteY0" fmla="*/ 0 h 257442"/>
                <a:gd name="connsiteX1" fmla="*/ 2862066 w 2916788"/>
                <a:gd name="connsiteY1" fmla="*/ 257442 h 257442"/>
                <a:gd name="connsiteX2" fmla="*/ 0 w 2916788"/>
                <a:gd name="connsiteY2" fmla="*/ 257442 h 257442"/>
                <a:gd name="connsiteX3" fmla="*/ 0 w 2916788"/>
                <a:gd name="connsiteY3" fmla="*/ 0 h 257442"/>
                <a:gd name="connsiteX0" fmla="*/ 2916789 w 2916789"/>
                <a:gd name="connsiteY0" fmla="*/ 0 h 257442"/>
                <a:gd name="connsiteX1" fmla="*/ 2862067 w 2916789"/>
                <a:gd name="connsiteY1" fmla="*/ 257442 h 257442"/>
                <a:gd name="connsiteX2" fmla="*/ 0 w 2916789"/>
                <a:gd name="connsiteY2" fmla="*/ 257442 h 257442"/>
                <a:gd name="connsiteX3" fmla="*/ 1 w 2916789"/>
                <a:gd name="connsiteY3" fmla="*/ 0 h 257442"/>
                <a:gd name="connsiteX0" fmla="*/ 2916789 w 2916789"/>
                <a:gd name="connsiteY0" fmla="*/ 0 h 257442"/>
                <a:gd name="connsiteX1" fmla="*/ 2862067 w 2916789"/>
                <a:gd name="connsiteY1" fmla="*/ 257442 h 257442"/>
                <a:gd name="connsiteX2" fmla="*/ 0 w 2916789"/>
                <a:gd name="connsiteY2" fmla="*/ 257442 h 257442"/>
                <a:gd name="connsiteX3" fmla="*/ 1 w 2916789"/>
                <a:gd name="connsiteY3" fmla="*/ 0 h 257442"/>
                <a:gd name="connsiteX0" fmla="*/ 3085104 w 3085104"/>
                <a:gd name="connsiteY0" fmla="*/ 0 h 257442"/>
                <a:gd name="connsiteX1" fmla="*/ 2862067 w 3085104"/>
                <a:gd name="connsiteY1" fmla="*/ 257442 h 257442"/>
                <a:gd name="connsiteX2" fmla="*/ 0 w 3085104"/>
                <a:gd name="connsiteY2" fmla="*/ 257442 h 257442"/>
                <a:gd name="connsiteX3" fmla="*/ 1 w 3085104"/>
                <a:gd name="connsiteY3" fmla="*/ 0 h 257442"/>
                <a:gd name="connsiteX0" fmla="*/ 3085104 w 3085104"/>
                <a:gd name="connsiteY0" fmla="*/ 0 h 257442"/>
                <a:gd name="connsiteX1" fmla="*/ 3030382 w 3085104"/>
                <a:gd name="connsiteY1" fmla="*/ 257442 h 257442"/>
                <a:gd name="connsiteX2" fmla="*/ 0 w 3085104"/>
                <a:gd name="connsiteY2" fmla="*/ 257442 h 257442"/>
                <a:gd name="connsiteX3" fmla="*/ 1 w 3085104"/>
                <a:gd name="connsiteY3" fmla="*/ 0 h 257442"/>
                <a:gd name="connsiteX0" fmla="*/ 3085104 w 3085104"/>
                <a:gd name="connsiteY0" fmla="*/ 0 h 257442"/>
                <a:gd name="connsiteX1" fmla="*/ 3030382 w 3085104"/>
                <a:gd name="connsiteY1" fmla="*/ 257442 h 257442"/>
                <a:gd name="connsiteX2" fmla="*/ 0 w 3085104"/>
                <a:gd name="connsiteY2" fmla="*/ 257442 h 257442"/>
                <a:gd name="connsiteX3" fmla="*/ 1 w 3085104"/>
                <a:gd name="connsiteY3" fmla="*/ 0 h 257442"/>
                <a:gd name="connsiteX0" fmla="*/ 3085104 w 3085104"/>
                <a:gd name="connsiteY0" fmla="*/ 0 h 257442"/>
                <a:gd name="connsiteX1" fmla="*/ 3030382 w 3085104"/>
                <a:gd name="connsiteY1" fmla="*/ 257442 h 257442"/>
                <a:gd name="connsiteX2" fmla="*/ 0 w 3085104"/>
                <a:gd name="connsiteY2" fmla="*/ 257442 h 257442"/>
                <a:gd name="connsiteX3" fmla="*/ 0 w 3085104"/>
                <a:gd name="connsiteY3" fmla="*/ 0 h 257442"/>
                <a:gd name="connsiteX0" fmla="*/ 3186092 w 3186092"/>
                <a:gd name="connsiteY0" fmla="*/ 0 h 257442"/>
                <a:gd name="connsiteX1" fmla="*/ 3030382 w 3186092"/>
                <a:gd name="connsiteY1" fmla="*/ 257442 h 257442"/>
                <a:gd name="connsiteX2" fmla="*/ 0 w 3186092"/>
                <a:gd name="connsiteY2" fmla="*/ 257442 h 257442"/>
                <a:gd name="connsiteX3" fmla="*/ 0 w 3186092"/>
                <a:gd name="connsiteY3" fmla="*/ 0 h 257442"/>
                <a:gd name="connsiteX0" fmla="*/ 3186092 w 3186092"/>
                <a:gd name="connsiteY0" fmla="*/ 0 h 257442"/>
                <a:gd name="connsiteX1" fmla="*/ 3131371 w 3186092"/>
                <a:gd name="connsiteY1" fmla="*/ 257442 h 257442"/>
                <a:gd name="connsiteX2" fmla="*/ 0 w 3186092"/>
                <a:gd name="connsiteY2" fmla="*/ 257442 h 257442"/>
                <a:gd name="connsiteX3" fmla="*/ 0 w 3186092"/>
                <a:gd name="connsiteY3" fmla="*/ 0 h 257442"/>
                <a:gd name="connsiteX0" fmla="*/ 3186092 w 3186092"/>
                <a:gd name="connsiteY0" fmla="*/ 0 h 257442"/>
                <a:gd name="connsiteX1" fmla="*/ 3131371 w 3186092"/>
                <a:gd name="connsiteY1" fmla="*/ 257442 h 257442"/>
                <a:gd name="connsiteX2" fmla="*/ 0 w 3186092"/>
                <a:gd name="connsiteY2" fmla="*/ 257442 h 257442"/>
                <a:gd name="connsiteX3" fmla="*/ 0 w 3186092"/>
                <a:gd name="connsiteY3" fmla="*/ 0 h 257442"/>
                <a:gd name="connsiteX0" fmla="*/ 3186092 w 3186092"/>
                <a:gd name="connsiteY0" fmla="*/ 0 h 257442"/>
                <a:gd name="connsiteX1" fmla="*/ 3131371 w 3186092"/>
                <a:gd name="connsiteY1" fmla="*/ 257442 h 257442"/>
                <a:gd name="connsiteX2" fmla="*/ 0 w 3186092"/>
                <a:gd name="connsiteY2" fmla="*/ 257442 h 257442"/>
                <a:gd name="connsiteX3" fmla="*/ 0 w 3186092"/>
                <a:gd name="connsiteY3" fmla="*/ 0 h 257442"/>
                <a:gd name="connsiteX0" fmla="*/ 3354408 w 3354408"/>
                <a:gd name="connsiteY0" fmla="*/ 0 h 257442"/>
                <a:gd name="connsiteX1" fmla="*/ 3131371 w 3354408"/>
                <a:gd name="connsiteY1" fmla="*/ 257442 h 257442"/>
                <a:gd name="connsiteX2" fmla="*/ 0 w 3354408"/>
                <a:gd name="connsiteY2" fmla="*/ 257442 h 257442"/>
                <a:gd name="connsiteX3" fmla="*/ 0 w 3354408"/>
                <a:gd name="connsiteY3" fmla="*/ 0 h 257442"/>
                <a:gd name="connsiteX0" fmla="*/ 3354408 w 3354408"/>
                <a:gd name="connsiteY0" fmla="*/ 0 h 257442"/>
                <a:gd name="connsiteX1" fmla="*/ 3299687 w 3354408"/>
                <a:gd name="connsiteY1" fmla="*/ 257442 h 257442"/>
                <a:gd name="connsiteX2" fmla="*/ 0 w 3354408"/>
                <a:gd name="connsiteY2" fmla="*/ 257442 h 257442"/>
                <a:gd name="connsiteX3" fmla="*/ 0 w 3354408"/>
                <a:gd name="connsiteY3" fmla="*/ 0 h 257442"/>
                <a:gd name="connsiteX0" fmla="*/ 3354408 w 3354408"/>
                <a:gd name="connsiteY0" fmla="*/ 0 h 257442"/>
                <a:gd name="connsiteX1" fmla="*/ 3299687 w 3354408"/>
                <a:gd name="connsiteY1" fmla="*/ 257442 h 257442"/>
                <a:gd name="connsiteX2" fmla="*/ 0 w 3354408"/>
                <a:gd name="connsiteY2" fmla="*/ 257442 h 257442"/>
                <a:gd name="connsiteX3" fmla="*/ 0 w 3354408"/>
                <a:gd name="connsiteY3" fmla="*/ 0 h 257442"/>
                <a:gd name="connsiteX0" fmla="*/ 3354408 w 3354408"/>
                <a:gd name="connsiteY0" fmla="*/ 0 h 257442"/>
                <a:gd name="connsiteX1" fmla="*/ 3299687 w 3354408"/>
                <a:gd name="connsiteY1" fmla="*/ 257442 h 257442"/>
                <a:gd name="connsiteX2" fmla="*/ 0 w 3354408"/>
                <a:gd name="connsiteY2" fmla="*/ 257442 h 257442"/>
                <a:gd name="connsiteX3" fmla="*/ 0 w 3354408"/>
                <a:gd name="connsiteY3" fmla="*/ 0 h 257442"/>
                <a:gd name="connsiteX0" fmla="*/ 3514708 w 3514708"/>
                <a:gd name="connsiteY0" fmla="*/ 0 h 257442"/>
                <a:gd name="connsiteX1" fmla="*/ 3299687 w 3514708"/>
                <a:gd name="connsiteY1" fmla="*/ 257442 h 257442"/>
                <a:gd name="connsiteX2" fmla="*/ 0 w 3514708"/>
                <a:gd name="connsiteY2" fmla="*/ 257442 h 257442"/>
                <a:gd name="connsiteX3" fmla="*/ 0 w 3514708"/>
                <a:gd name="connsiteY3" fmla="*/ 0 h 257442"/>
                <a:gd name="connsiteX0" fmla="*/ 3514708 w 3514708"/>
                <a:gd name="connsiteY0" fmla="*/ 0 h 257442"/>
                <a:gd name="connsiteX1" fmla="*/ 3459987 w 3514708"/>
                <a:gd name="connsiteY1" fmla="*/ 257442 h 257442"/>
                <a:gd name="connsiteX2" fmla="*/ 0 w 3514708"/>
                <a:gd name="connsiteY2" fmla="*/ 257442 h 257442"/>
                <a:gd name="connsiteX3" fmla="*/ 0 w 3514708"/>
                <a:gd name="connsiteY3" fmla="*/ 0 h 257442"/>
                <a:gd name="connsiteX0" fmla="*/ 3514708 w 3514708"/>
                <a:gd name="connsiteY0" fmla="*/ 0 h 257442"/>
                <a:gd name="connsiteX1" fmla="*/ 3459987 w 3514708"/>
                <a:gd name="connsiteY1" fmla="*/ 257442 h 257442"/>
                <a:gd name="connsiteX2" fmla="*/ 0 w 3514708"/>
                <a:gd name="connsiteY2" fmla="*/ 257442 h 257442"/>
                <a:gd name="connsiteX3" fmla="*/ 0 w 3514708"/>
                <a:gd name="connsiteY3" fmla="*/ 0 h 257442"/>
                <a:gd name="connsiteX0" fmla="*/ 3514708 w 3514708"/>
                <a:gd name="connsiteY0" fmla="*/ 0 h 257442"/>
                <a:gd name="connsiteX1" fmla="*/ 3459987 w 3514708"/>
                <a:gd name="connsiteY1" fmla="*/ 257442 h 257442"/>
                <a:gd name="connsiteX2" fmla="*/ 0 w 3514708"/>
                <a:gd name="connsiteY2" fmla="*/ 257442 h 257442"/>
                <a:gd name="connsiteX3" fmla="*/ 0 w 3514708"/>
                <a:gd name="connsiteY3" fmla="*/ 0 h 257442"/>
                <a:gd name="connsiteX0" fmla="*/ 3675008 w 3675008"/>
                <a:gd name="connsiteY0" fmla="*/ 0 h 257442"/>
                <a:gd name="connsiteX1" fmla="*/ 3459987 w 3675008"/>
                <a:gd name="connsiteY1" fmla="*/ 257442 h 257442"/>
                <a:gd name="connsiteX2" fmla="*/ 0 w 3675008"/>
                <a:gd name="connsiteY2" fmla="*/ 257442 h 257442"/>
                <a:gd name="connsiteX3" fmla="*/ 0 w 3675008"/>
                <a:gd name="connsiteY3" fmla="*/ 0 h 257442"/>
                <a:gd name="connsiteX0" fmla="*/ 3675008 w 3675008"/>
                <a:gd name="connsiteY0" fmla="*/ 0 h 257442"/>
                <a:gd name="connsiteX1" fmla="*/ 3620287 w 3675008"/>
                <a:gd name="connsiteY1" fmla="*/ 257442 h 257442"/>
                <a:gd name="connsiteX2" fmla="*/ 0 w 3675008"/>
                <a:gd name="connsiteY2" fmla="*/ 257442 h 257442"/>
                <a:gd name="connsiteX3" fmla="*/ 0 w 3675008"/>
                <a:gd name="connsiteY3" fmla="*/ 0 h 257442"/>
                <a:gd name="connsiteX0" fmla="*/ 3675008 w 3675008"/>
                <a:gd name="connsiteY0" fmla="*/ 0 h 257442"/>
                <a:gd name="connsiteX1" fmla="*/ 3620287 w 3675008"/>
                <a:gd name="connsiteY1" fmla="*/ 257442 h 257442"/>
                <a:gd name="connsiteX2" fmla="*/ 0 w 3675008"/>
                <a:gd name="connsiteY2" fmla="*/ 257442 h 257442"/>
                <a:gd name="connsiteX3" fmla="*/ 0 w 3675008"/>
                <a:gd name="connsiteY3" fmla="*/ 0 h 257442"/>
                <a:gd name="connsiteX0" fmla="*/ 3675008 w 3675008"/>
                <a:gd name="connsiteY0" fmla="*/ 0 h 257442"/>
                <a:gd name="connsiteX1" fmla="*/ 3620287 w 3675008"/>
                <a:gd name="connsiteY1" fmla="*/ 257442 h 257442"/>
                <a:gd name="connsiteX2" fmla="*/ 0 w 3675008"/>
                <a:gd name="connsiteY2" fmla="*/ 257442 h 257442"/>
                <a:gd name="connsiteX3" fmla="*/ 0 w 3675008"/>
                <a:gd name="connsiteY3" fmla="*/ 0 h 257442"/>
                <a:gd name="connsiteX0" fmla="*/ 3835309 w 3835309"/>
                <a:gd name="connsiteY0" fmla="*/ 0 h 257442"/>
                <a:gd name="connsiteX1" fmla="*/ 3620287 w 3835309"/>
                <a:gd name="connsiteY1" fmla="*/ 257442 h 257442"/>
                <a:gd name="connsiteX2" fmla="*/ 0 w 3835309"/>
                <a:gd name="connsiteY2" fmla="*/ 257442 h 257442"/>
                <a:gd name="connsiteX3" fmla="*/ 0 w 3835309"/>
                <a:gd name="connsiteY3" fmla="*/ 0 h 257442"/>
                <a:gd name="connsiteX0" fmla="*/ 3835309 w 3835309"/>
                <a:gd name="connsiteY0" fmla="*/ 0 h 257442"/>
                <a:gd name="connsiteX1" fmla="*/ 3780588 w 3835309"/>
                <a:gd name="connsiteY1" fmla="*/ 257442 h 257442"/>
                <a:gd name="connsiteX2" fmla="*/ 0 w 3835309"/>
                <a:gd name="connsiteY2" fmla="*/ 257442 h 257442"/>
                <a:gd name="connsiteX3" fmla="*/ 0 w 3835309"/>
                <a:gd name="connsiteY3" fmla="*/ 0 h 257442"/>
                <a:gd name="connsiteX0" fmla="*/ 3835309 w 3835309"/>
                <a:gd name="connsiteY0" fmla="*/ 0 h 257442"/>
                <a:gd name="connsiteX1" fmla="*/ 3780588 w 3835309"/>
                <a:gd name="connsiteY1" fmla="*/ 257442 h 257442"/>
                <a:gd name="connsiteX2" fmla="*/ 0 w 3835309"/>
                <a:gd name="connsiteY2" fmla="*/ 257442 h 257442"/>
                <a:gd name="connsiteX3" fmla="*/ 0 w 3835309"/>
                <a:gd name="connsiteY3" fmla="*/ 0 h 257442"/>
                <a:gd name="connsiteX0" fmla="*/ 3835309 w 3835309"/>
                <a:gd name="connsiteY0" fmla="*/ 0 h 257442"/>
                <a:gd name="connsiteX1" fmla="*/ 3780588 w 3835309"/>
                <a:gd name="connsiteY1" fmla="*/ 257442 h 257442"/>
                <a:gd name="connsiteX2" fmla="*/ 0 w 3835309"/>
                <a:gd name="connsiteY2" fmla="*/ 257442 h 257442"/>
                <a:gd name="connsiteX3" fmla="*/ 0 w 3835309"/>
                <a:gd name="connsiteY3" fmla="*/ 0 h 257442"/>
                <a:gd name="connsiteX0" fmla="*/ 3675008 w 3780588"/>
                <a:gd name="connsiteY0" fmla="*/ 0 h 257442"/>
                <a:gd name="connsiteX1" fmla="*/ 3780588 w 3780588"/>
                <a:gd name="connsiteY1" fmla="*/ 257442 h 257442"/>
                <a:gd name="connsiteX2" fmla="*/ 0 w 3780588"/>
                <a:gd name="connsiteY2" fmla="*/ 257442 h 257442"/>
                <a:gd name="connsiteX3" fmla="*/ 0 w 3780588"/>
                <a:gd name="connsiteY3" fmla="*/ 0 h 257442"/>
                <a:gd name="connsiteX0" fmla="*/ 3675008 w 3675008"/>
                <a:gd name="connsiteY0" fmla="*/ 0 h 257442"/>
                <a:gd name="connsiteX1" fmla="*/ 3620287 w 3675008"/>
                <a:gd name="connsiteY1" fmla="*/ 257442 h 257442"/>
                <a:gd name="connsiteX2" fmla="*/ 0 w 3675008"/>
                <a:gd name="connsiteY2" fmla="*/ 257442 h 257442"/>
                <a:gd name="connsiteX3" fmla="*/ 0 w 3675008"/>
                <a:gd name="connsiteY3" fmla="*/ 0 h 257442"/>
                <a:gd name="connsiteX0" fmla="*/ 3675008 w 3675008"/>
                <a:gd name="connsiteY0" fmla="*/ 0 h 257442"/>
                <a:gd name="connsiteX1" fmla="*/ 3620287 w 3675008"/>
                <a:gd name="connsiteY1" fmla="*/ 257442 h 257442"/>
                <a:gd name="connsiteX2" fmla="*/ 0 w 3675008"/>
                <a:gd name="connsiteY2" fmla="*/ 257442 h 257442"/>
                <a:gd name="connsiteX3" fmla="*/ 0 w 3675008"/>
                <a:gd name="connsiteY3" fmla="*/ 0 h 257442"/>
                <a:gd name="connsiteX0" fmla="*/ 3675008 w 3675008"/>
                <a:gd name="connsiteY0" fmla="*/ 0 h 257442"/>
                <a:gd name="connsiteX1" fmla="*/ 3620287 w 3675008"/>
                <a:gd name="connsiteY1" fmla="*/ 257442 h 257442"/>
                <a:gd name="connsiteX2" fmla="*/ 0 w 3675008"/>
                <a:gd name="connsiteY2" fmla="*/ 257442 h 257442"/>
                <a:gd name="connsiteX3" fmla="*/ 0 w 3675008"/>
                <a:gd name="connsiteY3" fmla="*/ 0 h 257442"/>
                <a:gd name="connsiteX0" fmla="*/ 3514708 w 3620287"/>
                <a:gd name="connsiteY0" fmla="*/ 0 h 257442"/>
                <a:gd name="connsiteX1" fmla="*/ 3620287 w 3620287"/>
                <a:gd name="connsiteY1" fmla="*/ 257442 h 257442"/>
                <a:gd name="connsiteX2" fmla="*/ 0 w 3620287"/>
                <a:gd name="connsiteY2" fmla="*/ 257442 h 257442"/>
                <a:gd name="connsiteX3" fmla="*/ 0 w 3620287"/>
                <a:gd name="connsiteY3" fmla="*/ 0 h 257442"/>
                <a:gd name="connsiteX0" fmla="*/ 3514708 w 3514708"/>
                <a:gd name="connsiteY0" fmla="*/ 0 h 257442"/>
                <a:gd name="connsiteX1" fmla="*/ 3459988 w 3514708"/>
                <a:gd name="connsiteY1" fmla="*/ 257442 h 257442"/>
                <a:gd name="connsiteX2" fmla="*/ 0 w 3514708"/>
                <a:gd name="connsiteY2" fmla="*/ 257442 h 257442"/>
                <a:gd name="connsiteX3" fmla="*/ 0 w 3514708"/>
                <a:gd name="connsiteY3" fmla="*/ 0 h 257442"/>
                <a:gd name="connsiteX0" fmla="*/ 3514708 w 3514708"/>
                <a:gd name="connsiteY0" fmla="*/ 0 h 257442"/>
                <a:gd name="connsiteX1" fmla="*/ 3459988 w 3514708"/>
                <a:gd name="connsiteY1" fmla="*/ 257442 h 257442"/>
                <a:gd name="connsiteX2" fmla="*/ 1 w 3514708"/>
                <a:gd name="connsiteY2" fmla="*/ 257442 h 257442"/>
                <a:gd name="connsiteX3" fmla="*/ 0 w 3514708"/>
                <a:gd name="connsiteY3" fmla="*/ 0 h 257442"/>
                <a:gd name="connsiteX0" fmla="*/ 3514707 w 3514707"/>
                <a:gd name="connsiteY0" fmla="*/ 0 h 257442"/>
                <a:gd name="connsiteX1" fmla="*/ 3459987 w 3514707"/>
                <a:gd name="connsiteY1" fmla="*/ 257442 h 257442"/>
                <a:gd name="connsiteX2" fmla="*/ 0 w 3514707"/>
                <a:gd name="connsiteY2" fmla="*/ 257442 h 257442"/>
                <a:gd name="connsiteX3" fmla="*/ 0 w 3514707"/>
                <a:gd name="connsiteY3" fmla="*/ 0 h 257442"/>
                <a:gd name="connsiteX0" fmla="*/ 3354408 w 3459987"/>
                <a:gd name="connsiteY0" fmla="*/ 0 h 257442"/>
                <a:gd name="connsiteX1" fmla="*/ 3459987 w 3459987"/>
                <a:gd name="connsiteY1" fmla="*/ 257442 h 257442"/>
                <a:gd name="connsiteX2" fmla="*/ 0 w 3459987"/>
                <a:gd name="connsiteY2" fmla="*/ 257442 h 257442"/>
                <a:gd name="connsiteX3" fmla="*/ 0 w 3459987"/>
                <a:gd name="connsiteY3" fmla="*/ 0 h 257442"/>
                <a:gd name="connsiteX0" fmla="*/ 3354408 w 3354408"/>
                <a:gd name="connsiteY0" fmla="*/ 0 h 257442"/>
                <a:gd name="connsiteX1" fmla="*/ 3299687 w 3354408"/>
                <a:gd name="connsiteY1" fmla="*/ 257442 h 257442"/>
                <a:gd name="connsiteX2" fmla="*/ 0 w 3354408"/>
                <a:gd name="connsiteY2" fmla="*/ 257442 h 257442"/>
                <a:gd name="connsiteX3" fmla="*/ 0 w 3354408"/>
                <a:gd name="connsiteY3" fmla="*/ 0 h 257442"/>
                <a:gd name="connsiteX0" fmla="*/ 3354408 w 3354408"/>
                <a:gd name="connsiteY0" fmla="*/ 0 h 257442"/>
                <a:gd name="connsiteX1" fmla="*/ 3299687 w 3354408"/>
                <a:gd name="connsiteY1" fmla="*/ 257442 h 257442"/>
                <a:gd name="connsiteX2" fmla="*/ 0 w 3354408"/>
                <a:gd name="connsiteY2" fmla="*/ 257442 h 257442"/>
                <a:gd name="connsiteX3" fmla="*/ 0 w 3354408"/>
                <a:gd name="connsiteY3" fmla="*/ 0 h 257442"/>
                <a:gd name="connsiteX0" fmla="*/ 3354408 w 3354408"/>
                <a:gd name="connsiteY0" fmla="*/ 0 h 257442"/>
                <a:gd name="connsiteX1" fmla="*/ 3299687 w 3354408"/>
                <a:gd name="connsiteY1" fmla="*/ 257442 h 257442"/>
                <a:gd name="connsiteX2" fmla="*/ 0 w 3354408"/>
                <a:gd name="connsiteY2" fmla="*/ 257442 h 257442"/>
                <a:gd name="connsiteX3" fmla="*/ 0 w 3354408"/>
                <a:gd name="connsiteY3" fmla="*/ 0 h 257442"/>
                <a:gd name="connsiteX0" fmla="*/ 3186092 w 3299687"/>
                <a:gd name="connsiteY0" fmla="*/ 0 h 257442"/>
                <a:gd name="connsiteX1" fmla="*/ 3299687 w 3299687"/>
                <a:gd name="connsiteY1" fmla="*/ 257442 h 257442"/>
                <a:gd name="connsiteX2" fmla="*/ 0 w 3299687"/>
                <a:gd name="connsiteY2" fmla="*/ 257442 h 257442"/>
                <a:gd name="connsiteX3" fmla="*/ 0 w 3299687"/>
                <a:gd name="connsiteY3" fmla="*/ 0 h 257442"/>
                <a:gd name="connsiteX0" fmla="*/ 3186092 w 3186092"/>
                <a:gd name="connsiteY0" fmla="*/ 0 h 257442"/>
                <a:gd name="connsiteX1" fmla="*/ 3131372 w 3186092"/>
                <a:gd name="connsiteY1" fmla="*/ 257442 h 257442"/>
                <a:gd name="connsiteX2" fmla="*/ 0 w 3186092"/>
                <a:gd name="connsiteY2" fmla="*/ 257442 h 257442"/>
                <a:gd name="connsiteX3" fmla="*/ 0 w 3186092"/>
                <a:gd name="connsiteY3" fmla="*/ 0 h 257442"/>
                <a:gd name="connsiteX0" fmla="*/ 3186092 w 3186092"/>
                <a:gd name="connsiteY0" fmla="*/ 0 h 257442"/>
                <a:gd name="connsiteX1" fmla="*/ 3131372 w 3186092"/>
                <a:gd name="connsiteY1" fmla="*/ 257442 h 257442"/>
                <a:gd name="connsiteX2" fmla="*/ 1 w 3186092"/>
                <a:gd name="connsiteY2" fmla="*/ 257442 h 257442"/>
                <a:gd name="connsiteX3" fmla="*/ 0 w 3186092"/>
                <a:gd name="connsiteY3" fmla="*/ 0 h 257442"/>
                <a:gd name="connsiteX0" fmla="*/ 3186091 w 3186091"/>
                <a:gd name="connsiteY0" fmla="*/ 0 h 257442"/>
                <a:gd name="connsiteX1" fmla="*/ 3131371 w 3186091"/>
                <a:gd name="connsiteY1" fmla="*/ 257442 h 257442"/>
                <a:gd name="connsiteX2" fmla="*/ 0 w 3186091"/>
                <a:gd name="connsiteY2" fmla="*/ 257442 h 257442"/>
                <a:gd name="connsiteX3" fmla="*/ 0 w 3186091"/>
                <a:gd name="connsiteY3" fmla="*/ 0 h 257442"/>
                <a:gd name="connsiteX0" fmla="*/ 3263036 w 3263036"/>
                <a:gd name="connsiteY0" fmla="*/ 0 h 257442"/>
                <a:gd name="connsiteX1" fmla="*/ 3131371 w 3263036"/>
                <a:gd name="connsiteY1" fmla="*/ 257442 h 257442"/>
                <a:gd name="connsiteX2" fmla="*/ 0 w 3263036"/>
                <a:gd name="connsiteY2" fmla="*/ 257442 h 257442"/>
                <a:gd name="connsiteX3" fmla="*/ 0 w 3263036"/>
                <a:gd name="connsiteY3" fmla="*/ 0 h 257442"/>
                <a:gd name="connsiteX0" fmla="*/ 3263036 w 3263036"/>
                <a:gd name="connsiteY0" fmla="*/ 0 h 257442"/>
                <a:gd name="connsiteX1" fmla="*/ 3208314 w 3263036"/>
                <a:gd name="connsiteY1" fmla="*/ 257442 h 257442"/>
                <a:gd name="connsiteX2" fmla="*/ 0 w 3263036"/>
                <a:gd name="connsiteY2" fmla="*/ 257442 h 257442"/>
                <a:gd name="connsiteX3" fmla="*/ 0 w 3263036"/>
                <a:gd name="connsiteY3" fmla="*/ 0 h 257442"/>
                <a:gd name="connsiteX0" fmla="*/ 3263037 w 3263037"/>
                <a:gd name="connsiteY0" fmla="*/ 0 h 257442"/>
                <a:gd name="connsiteX1" fmla="*/ 3208315 w 3263037"/>
                <a:gd name="connsiteY1" fmla="*/ 257442 h 257442"/>
                <a:gd name="connsiteX2" fmla="*/ 0 w 3263037"/>
                <a:gd name="connsiteY2" fmla="*/ 257442 h 257442"/>
                <a:gd name="connsiteX3" fmla="*/ 1 w 3263037"/>
                <a:gd name="connsiteY3" fmla="*/ 0 h 257442"/>
                <a:gd name="connsiteX0" fmla="*/ 3263037 w 3263037"/>
                <a:gd name="connsiteY0" fmla="*/ 0 h 257442"/>
                <a:gd name="connsiteX1" fmla="*/ 3208315 w 3263037"/>
                <a:gd name="connsiteY1" fmla="*/ 257442 h 257442"/>
                <a:gd name="connsiteX2" fmla="*/ 0 w 3263037"/>
                <a:gd name="connsiteY2" fmla="*/ 257442 h 257442"/>
                <a:gd name="connsiteX3" fmla="*/ 1 w 3263037"/>
                <a:gd name="connsiteY3" fmla="*/ 0 h 257442"/>
                <a:gd name="connsiteX0" fmla="*/ 3431353 w 3431353"/>
                <a:gd name="connsiteY0" fmla="*/ 0 h 257442"/>
                <a:gd name="connsiteX1" fmla="*/ 3208315 w 3431353"/>
                <a:gd name="connsiteY1" fmla="*/ 257442 h 257442"/>
                <a:gd name="connsiteX2" fmla="*/ 0 w 3431353"/>
                <a:gd name="connsiteY2" fmla="*/ 257442 h 257442"/>
                <a:gd name="connsiteX3" fmla="*/ 1 w 3431353"/>
                <a:gd name="connsiteY3" fmla="*/ 0 h 257442"/>
                <a:gd name="connsiteX0" fmla="*/ 3431353 w 3431353"/>
                <a:gd name="connsiteY0" fmla="*/ 0 h 257442"/>
                <a:gd name="connsiteX1" fmla="*/ 3376632 w 3431353"/>
                <a:gd name="connsiteY1" fmla="*/ 257442 h 257442"/>
                <a:gd name="connsiteX2" fmla="*/ 0 w 3431353"/>
                <a:gd name="connsiteY2" fmla="*/ 257442 h 257442"/>
                <a:gd name="connsiteX3" fmla="*/ 1 w 3431353"/>
                <a:gd name="connsiteY3" fmla="*/ 0 h 257442"/>
                <a:gd name="connsiteX0" fmla="*/ 3431352 w 3431352"/>
                <a:gd name="connsiteY0" fmla="*/ 0 h 257442"/>
                <a:gd name="connsiteX1" fmla="*/ 3376631 w 3431352"/>
                <a:gd name="connsiteY1" fmla="*/ 257442 h 257442"/>
                <a:gd name="connsiteX2" fmla="*/ 0 w 3431352"/>
                <a:gd name="connsiteY2" fmla="*/ 257442 h 257442"/>
                <a:gd name="connsiteX3" fmla="*/ 0 w 3431352"/>
                <a:gd name="connsiteY3" fmla="*/ 0 h 257442"/>
                <a:gd name="connsiteX0" fmla="*/ 3431353 w 3431353"/>
                <a:gd name="connsiteY0" fmla="*/ 0 h 257442"/>
                <a:gd name="connsiteX1" fmla="*/ 3376632 w 3431353"/>
                <a:gd name="connsiteY1" fmla="*/ 257442 h 257442"/>
                <a:gd name="connsiteX2" fmla="*/ 1 w 3431353"/>
                <a:gd name="connsiteY2" fmla="*/ 257442 h 257442"/>
                <a:gd name="connsiteX3" fmla="*/ 0 w 3431353"/>
                <a:gd name="connsiteY3" fmla="*/ 0 h 257442"/>
                <a:gd name="connsiteX0" fmla="*/ 3591653 w 3591653"/>
                <a:gd name="connsiteY0" fmla="*/ 0 h 257442"/>
                <a:gd name="connsiteX1" fmla="*/ 3376632 w 3591653"/>
                <a:gd name="connsiteY1" fmla="*/ 257442 h 257442"/>
                <a:gd name="connsiteX2" fmla="*/ 1 w 3591653"/>
                <a:gd name="connsiteY2" fmla="*/ 257442 h 257442"/>
                <a:gd name="connsiteX3" fmla="*/ 0 w 3591653"/>
                <a:gd name="connsiteY3" fmla="*/ 0 h 257442"/>
                <a:gd name="connsiteX0" fmla="*/ 3591653 w 3591653"/>
                <a:gd name="connsiteY0" fmla="*/ 0 h 257442"/>
                <a:gd name="connsiteX1" fmla="*/ 3536932 w 3591653"/>
                <a:gd name="connsiteY1" fmla="*/ 257442 h 257442"/>
                <a:gd name="connsiteX2" fmla="*/ 1 w 3591653"/>
                <a:gd name="connsiteY2" fmla="*/ 257442 h 257442"/>
                <a:gd name="connsiteX3" fmla="*/ 0 w 3591653"/>
                <a:gd name="connsiteY3" fmla="*/ 0 h 257442"/>
                <a:gd name="connsiteX0" fmla="*/ 3591653 w 3591653"/>
                <a:gd name="connsiteY0" fmla="*/ 0 h 257442"/>
                <a:gd name="connsiteX1" fmla="*/ 3536932 w 3591653"/>
                <a:gd name="connsiteY1" fmla="*/ 257442 h 257442"/>
                <a:gd name="connsiteX2" fmla="*/ 1 w 3591653"/>
                <a:gd name="connsiteY2" fmla="*/ 257442 h 257442"/>
                <a:gd name="connsiteX3" fmla="*/ 0 w 3591653"/>
                <a:gd name="connsiteY3" fmla="*/ 0 h 257442"/>
                <a:gd name="connsiteX0" fmla="*/ 3591652 w 3591652"/>
                <a:gd name="connsiteY0" fmla="*/ 0 h 257442"/>
                <a:gd name="connsiteX1" fmla="*/ 3536931 w 3591652"/>
                <a:gd name="connsiteY1" fmla="*/ 257442 h 257442"/>
                <a:gd name="connsiteX2" fmla="*/ 0 w 3591652"/>
                <a:gd name="connsiteY2" fmla="*/ 257442 h 257442"/>
                <a:gd name="connsiteX3" fmla="*/ 0 w 3591652"/>
                <a:gd name="connsiteY3" fmla="*/ 0 h 257442"/>
                <a:gd name="connsiteX0" fmla="*/ 3751952 w 3751952"/>
                <a:gd name="connsiteY0" fmla="*/ 0 h 257442"/>
                <a:gd name="connsiteX1" fmla="*/ 3536931 w 3751952"/>
                <a:gd name="connsiteY1" fmla="*/ 257442 h 257442"/>
                <a:gd name="connsiteX2" fmla="*/ 0 w 3751952"/>
                <a:gd name="connsiteY2" fmla="*/ 257442 h 257442"/>
                <a:gd name="connsiteX3" fmla="*/ 0 w 3751952"/>
                <a:gd name="connsiteY3" fmla="*/ 0 h 257442"/>
                <a:gd name="connsiteX0" fmla="*/ 3751952 w 3751952"/>
                <a:gd name="connsiteY0" fmla="*/ 0 h 257442"/>
                <a:gd name="connsiteX1" fmla="*/ 3697231 w 3751952"/>
                <a:gd name="connsiteY1" fmla="*/ 257442 h 257442"/>
                <a:gd name="connsiteX2" fmla="*/ 0 w 3751952"/>
                <a:gd name="connsiteY2" fmla="*/ 257442 h 257442"/>
                <a:gd name="connsiteX3" fmla="*/ 0 w 3751952"/>
                <a:gd name="connsiteY3" fmla="*/ 0 h 257442"/>
                <a:gd name="connsiteX0" fmla="*/ 3751953 w 3751953"/>
                <a:gd name="connsiteY0" fmla="*/ 0 h 257442"/>
                <a:gd name="connsiteX1" fmla="*/ 3697232 w 3751953"/>
                <a:gd name="connsiteY1" fmla="*/ 257442 h 257442"/>
                <a:gd name="connsiteX2" fmla="*/ 0 w 3751953"/>
                <a:gd name="connsiteY2" fmla="*/ 257442 h 257442"/>
                <a:gd name="connsiteX3" fmla="*/ 1 w 3751953"/>
                <a:gd name="connsiteY3" fmla="*/ 0 h 257442"/>
                <a:gd name="connsiteX0" fmla="*/ 3751953 w 3751953"/>
                <a:gd name="connsiteY0" fmla="*/ 0 h 257442"/>
                <a:gd name="connsiteX1" fmla="*/ 3697232 w 3751953"/>
                <a:gd name="connsiteY1" fmla="*/ 257442 h 257442"/>
                <a:gd name="connsiteX2" fmla="*/ 0 w 3751953"/>
                <a:gd name="connsiteY2" fmla="*/ 257442 h 257442"/>
                <a:gd name="connsiteX3" fmla="*/ 1 w 3751953"/>
                <a:gd name="connsiteY3" fmla="*/ 0 h 257442"/>
                <a:gd name="connsiteX0" fmla="*/ 3912254 w 3912254"/>
                <a:gd name="connsiteY0" fmla="*/ 0 h 257442"/>
                <a:gd name="connsiteX1" fmla="*/ 3697232 w 3912254"/>
                <a:gd name="connsiteY1" fmla="*/ 257442 h 257442"/>
                <a:gd name="connsiteX2" fmla="*/ 0 w 3912254"/>
                <a:gd name="connsiteY2" fmla="*/ 257442 h 257442"/>
                <a:gd name="connsiteX3" fmla="*/ 1 w 3912254"/>
                <a:gd name="connsiteY3" fmla="*/ 0 h 257442"/>
                <a:gd name="connsiteX0" fmla="*/ 3912254 w 3912254"/>
                <a:gd name="connsiteY0" fmla="*/ 0 h 257442"/>
                <a:gd name="connsiteX1" fmla="*/ 3857532 w 3912254"/>
                <a:gd name="connsiteY1" fmla="*/ 257442 h 257442"/>
                <a:gd name="connsiteX2" fmla="*/ 0 w 3912254"/>
                <a:gd name="connsiteY2" fmla="*/ 257442 h 257442"/>
                <a:gd name="connsiteX3" fmla="*/ 1 w 3912254"/>
                <a:gd name="connsiteY3" fmla="*/ 0 h 257442"/>
                <a:gd name="connsiteX0" fmla="*/ 3912254 w 3912254"/>
                <a:gd name="connsiteY0" fmla="*/ 0 h 257442"/>
                <a:gd name="connsiteX1" fmla="*/ 3857532 w 3912254"/>
                <a:gd name="connsiteY1" fmla="*/ 257442 h 257442"/>
                <a:gd name="connsiteX2" fmla="*/ 0 w 3912254"/>
                <a:gd name="connsiteY2" fmla="*/ 257442 h 257442"/>
                <a:gd name="connsiteX3" fmla="*/ 1 w 3912254"/>
                <a:gd name="connsiteY3" fmla="*/ 0 h 257442"/>
                <a:gd name="connsiteX0" fmla="*/ 3912254 w 3912254"/>
                <a:gd name="connsiteY0" fmla="*/ 0 h 257442"/>
                <a:gd name="connsiteX1" fmla="*/ 3857532 w 3912254"/>
                <a:gd name="connsiteY1" fmla="*/ 257442 h 257442"/>
                <a:gd name="connsiteX2" fmla="*/ 0 w 3912254"/>
                <a:gd name="connsiteY2" fmla="*/ 257442 h 257442"/>
                <a:gd name="connsiteX3" fmla="*/ 0 w 3912254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12254" h="257442">
                  <a:moveTo>
                    <a:pt x="3912254" y="0"/>
                  </a:moveTo>
                  <a:lnTo>
                    <a:pt x="3857532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52" name="btfpRunningAgenda2LevelTextLeft116644">
              <a:extLst>
                <a:ext uri="{FF2B5EF4-FFF2-40B4-BE49-F238E27FC236}">
                  <a16:creationId xmlns:a16="http://schemas.microsoft.com/office/drawing/2014/main" id="{D78EA95B-4223-C765-4CC5-CC32DBF44810}"/>
                </a:ext>
              </a:extLst>
            </p:cNvPr>
            <p:cNvSpPr txBox="1"/>
            <p:nvPr/>
          </p:nvSpPr>
          <p:spPr bwMode="gray">
            <a:xfrm>
              <a:off x="0" y="876300"/>
              <a:ext cx="385753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FFFFFF"/>
                  </a:solidFill>
                </a:rPr>
                <a:t>R&amp;D team and process</a:t>
              </a:r>
            </a:p>
          </p:txBody>
        </p:sp>
        <p:sp>
          <p:nvSpPr>
            <p:cNvPr id="53" name="btfpRunningAgenda2LevelBarRight116644">
              <a:extLst>
                <a:ext uri="{FF2B5EF4-FFF2-40B4-BE49-F238E27FC236}">
                  <a16:creationId xmlns:a16="http://schemas.microsoft.com/office/drawing/2014/main" id="{407E4990-064B-9997-1208-EBFBA9282B5B}"/>
                </a:ext>
              </a:extLst>
            </p:cNvPr>
            <p:cNvSpPr/>
            <p:nvPr/>
          </p:nvSpPr>
          <p:spPr bwMode="gray">
            <a:xfrm>
              <a:off x="3777410" y="876300"/>
              <a:ext cx="3427248" cy="257442"/>
            </a:xfrm>
            <a:custGeom>
              <a:avLst/>
              <a:gdLst>
                <a:gd name="connsiteX0" fmla="*/ 93477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34771 w 2313135"/>
                <a:gd name="connsiteY0" fmla="*/ 0 h 257442"/>
                <a:gd name="connsiteX1" fmla="*/ 88005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257442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1 w 934770"/>
                <a:gd name="connsiteY3" fmla="*/ 0 h 257442"/>
                <a:gd name="connsiteX0" fmla="*/ 1095069 w 1095069"/>
                <a:gd name="connsiteY0" fmla="*/ 0 h 257442"/>
                <a:gd name="connsiteX1" fmla="*/ 880049 w 1095069"/>
                <a:gd name="connsiteY1" fmla="*/ 257442 h 257442"/>
                <a:gd name="connsiteX2" fmla="*/ 0 w 1095069"/>
                <a:gd name="connsiteY2" fmla="*/ 257442 h 257442"/>
                <a:gd name="connsiteX3" fmla="*/ 54721 w 1095069"/>
                <a:gd name="connsiteY3" fmla="*/ 0 h 257442"/>
                <a:gd name="connsiteX0" fmla="*/ 1095069 w 1095069"/>
                <a:gd name="connsiteY0" fmla="*/ 0 h 257442"/>
                <a:gd name="connsiteX1" fmla="*/ 1040349 w 1095069"/>
                <a:gd name="connsiteY1" fmla="*/ 257442 h 257442"/>
                <a:gd name="connsiteX2" fmla="*/ 0 w 1095069"/>
                <a:gd name="connsiteY2" fmla="*/ 257442 h 257442"/>
                <a:gd name="connsiteX3" fmla="*/ 54721 w 1095069"/>
                <a:gd name="connsiteY3" fmla="*/ 0 h 257442"/>
                <a:gd name="connsiteX0" fmla="*/ 1095070 w 1095070"/>
                <a:gd name="connsiteY0" fmla="*/ 0 h 257442"/>
                <a:gd name="connsiteX1" fmla="*/ 1040350 w 1095070"/>
                <a:gd name="connsiteY1" fmla="*/ 257442 h 257442"/>
                <a:gd name="connsiteX2" fmla="*/ 0 w 1095070"/>
                <a:gd name="connsiteY2" fmla="*/ 257442 h 257442"/>
                <a:gd name="connsiteX3" fmla="*/ 54722 w 1095070"/>
                <a:gd name="connsiteY3" fmla="*/ 0 h 257442"/>
                <a:gd name="connsiteX0" fmla="*/ 1095070 w 1095070"/>
                <a:gd name="connsiteY0" fmla="*/ 0 h 257442"/>
                <a:gd name="connsiteX1" fmla="*/ 1040350 w 1095070"/>
                <a:gd name="connsiteY1" fmla="*/ 257442 h 257442"/>
                <a:gd name="connsiteX2" fmla="*/ 0 w 1095070"/>
                <a:gd name="connsiteY2" fmla="*/ 257442 h 257442"/>
                <a:gd name="connsiteX3" fmla="*/ 54721 w 1095070"/>
                <a:gd name="connsiteY3" fmla="*/ 0 h 257442"/>
                <a:gd name="connsiteX0" fmla="*/ 1263386 w 1263386"/>
                <a:gd name="connsiteY0" fmla="*/ 0 h 257442"/>
                <a:gd name="connsiteX1" fmla="*/ 1040350 w 1263386"/>
                <a:gd name="connsiteY1" fmla="*/ 257442 h 257442"/>
                <a:gd name="connsiteX2" fmla="*/ 0 w 1263386"/>
                <a:gd name="connsiteY2" fmla="*/ 257442 h 257442"/>
                <a:gd name="connsiteX3" fmla="*/ 54721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54721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54721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54721 w 1263386"/>
                <a:gd name="connsiteY3" fmla="*/ 0 h 257442"/>
                <a:gd name="connsiteX0" fmla="*/ 1431702 w 1431702"/>
                <a:gd name="connsiteY0" fmla="*/ 0 h 257442"/>
                <a:gd name="connsiteX1" fmla="*/ 1208665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600017 w 1600017"/>
                <a:gd name="connsiteY0" fmla="*/ 0 h 257442"/>
                <a:gd name="connsiteX1" fmla="*/ 1376981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600017 w 1600017"/>
                <a:gd name="connsiteY0" fmla="*/ 0 h 257442"/>
                <a:gd name="connsiteX1" fmla="*/ 1545296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600017 w 1600017"/>
                <a:gd name="connsiteY0" fmla="*/ 0 h 257442"/>
                <a:gd name="connsiteX1" fmla="*/ 1545296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600017 w 1600017"/>
                <a:gd name="connsiteY0" fmla="*/ 0 h 257442"/>
                <a:gd name="connsiteX1" fmla="*/ 1545296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760317 w 1760317"/>
                <a:gd name="connsiteY0" fmla="*/ 0 h 257442"/>
                <a:gd name="connsiteX1" fmla="*/ 1545296 w 1760317"/>
                <a:gd name="connsiteY1" fmla="*/ 257442 h 257442"/>
                <a:gd name="connsiteX2" fmla="*/ 0 w 1760317"/>
                <a:gd name="connsiteY2" fmla="*/ 257442 h 257442"/>
                <a:gd name="connsiteX3" fmla="*/ 54721 w 1760317"/>
                <a:gd name="connsiteY3" fmla="*/ 0 h 257442"/>
                <a:gd name="connsiteX0" fmla="*/ 1760317 w 1760317"/>
                <a:gd name="connsiteY0" fmla="*/ 0 h 257442"/>
                <a:gd name="connsiteX1" fmla="*/ 1705596 w 1760317"/>
                <a:gd name="connsiteY1" fmla="*/ 257442 h 257442"/>
                <a:gd name="connsiteX2" fmla="*/ 0 w 1760317"/>
                <a:gd name="connsiteY2" fmla="*/ 257442 h 257442"/>
                <a:gd name="connsiteX3" fmla="*/ 54721 w 1760317"/>
                <a:gd name="connsiteY3" fmla="*/ 0 h 257442"/>
                <a:gd name="connsiteX0" fmla="*/ 1760317 w 1760317"/>
                <a:gd name="connsiteY0" fmla="*/ 0 h 257442"/>
                <a:gd name="connsiteX1" fmla="*/ 1705596 w 1760317"/>
                <a:gd name="connsiteY1" fmla="*/ 257442 h 257442"/>
                <a:gd name="connsiteX2" fmla="*/ 0 w 1760317"/>
                <a:gd name="connsiteY2" fmla="*/ 257442 h 257442"/>
                <a:gd name="connsiteX3" fmla="*/ 54721 w 1760317"/>
                <a:gd name="connsiteY3" fmla="*/ 0 h 257442"/>
                <a:gd name="connsiteX0" fmla="*/ 1760317 w 1760317"/>
                <a:gd name="connsiteY0" fmla="*/ 0 h 257442"/>
                <a:gd name="connsiteX1" fmla="*/ 1705596 w 1760317"/>
                <a:gd name="connsiteY1" fmla="*/ 257442 h 257442"/>
                <a:gd name="connsiteX2" fmla="*/ 0 w 1760317"/>
                <a:gd name="connsiteY2" fmla="*/ 257442 h 257442"/>
                <a:gd name="connsiteX3" fmla="*/ 54721 w 1760317"/>
                <a:gd name="connsiteY3" fmla="*/ 0 h 257442"/>
                <a:gd name="connsiteX0" fmla="*/ 2023914 w 2023914"/>
                <a:gd name="connsiteY0" fmla="*/ 0 h 257442"/>
                <a:gd name="connsiteX1" fmla="*/ 1705596 w 2023914"/>
                <a:gd name="connsiteY1" fmla="*/ 257442 h 257442"/>
                <a:gd name="connsiteX2" fmla="*/ 0 w 2023914"/>
                <a:gd name="connsiteY2" fmla="*/ 257442 h 257442"/>
                <a:gd name="connsiteX3" fmla="*/ 54721 w 2023914"/>
                <a:gd name="connsiteY3" fmla="*/ 0 h 257442"/>
                <a:gd name="connsiteX0" fmla="*/ 2023914 w 2023914"/>
                <a:gd name="connsiteY0" fmla="*/ 0 h 257442"/>
                <a:gd name="connsiteX1" fmla="*/ 1969193 w 2023914"/>
                <a:gd name="connsiteY1" fmla="*/ 257442 h 257442"/>
                <a:gd name="connsiteX2" fmla="*/ 0 w 2023914"/>
                <a:gd name="connsiteY2" fmla="*/ 257442 h 257442"/>
                <a:gd name="connsiteX3" fmla="*/ 54721 w 2023914"/>
                <a:gd name="connsiteY3" fmla="*/ 0 h 257442"/>
                <a:gd name="connsiteX0" fmla="*/ 2023915 w 2023915"/>
                <a:gd name="connsiteY0" fmla="*/ 0 h 257442"/>
                <a:gd name="connsiteX1" fmla="*/ 1969194 w 2023915"/>
                <a:gd name="connsiteY1" fmla="*/ 257442 h 257442"/>
                <a:gd name="connsiteX2" fmla="*/ 0 w 2023915"/>
                <a:gd name="connsiteY2" fmla="*/ 257442 h 257442"/>
                <a:gd name="connsiteX3" fmla="*/ 54722 w 2023915"/>
                <a:gd name="connsiteY3" fmla="*/ 0 h 257442"/>
                <a:gd name="connsiteX0" fmla="*/ 2023915 w 2023915"/>
                <a:gd name="connsiteY0" fmla="*/ 0 h 257442"/>
                <a:gd name="connsiteX1" fmla="*/ 1969194 w 2023915"/>
                <a:gd name="connsiteY1" fmla="*/ 257442 h 257442"/>
                <a:gd name="connsiteX2" fmla="*/ 0 w 2023915"/>
                <a:gd name="connsiteY2" fmla="*/ 257442 h 257442"/>
                <a:gd name="connsiteX3" fmla="*/ 54722 w 2023915"/>
                <a:gd name="connsiteY3" fmla="*/ 0 h 257442"/>
                <a:gd name="connsiteX0" fmla="*/ 2192231 w 2192231"/>
                <a:gd name="connsiteY0" fmla="*/ 0 h 257442"/>
                <a:gd name="connsiteX1" fmla="*/ 1969194 w 2192231"/>
                <a:gd name="connsiteY1" fmla="*/ 257442 h 257442"/>
                <a:gd name="connsiteX2" fmla="*/ 0 w 2192231"/>
                <a:gd name="connsiteY2" fmla="*/ 257442 h 257442"/>
                <a:gd name="connsiteX3" fmla="*/ 54722 w 2192231"/>
                <a:gd name="connsiteY3" fmla="*/ 0 h 257442"/>
                <a:gd name="connsiteX0" fmla="*/ 2192231 w 2192231"/>
                <a:gd name="connsiteY0" fmla="*/ 0 h 257442"/>
                <a:gd name="connsiteX1" fmla="*/ 2137510 w 2192231"/>
                <a:gd name="connsiteY1" fmla="*/ 257442 h 257442"/>
                <a:gd name="connsiteX2" fmla="*/ 0 w 2192231"/>
                <a:gd name="connsiteY2" fmla="*/ 257442 h 257442"/>
                <a:gd name="connsiteX3" fmla="*/ 54722 w 2192231"/>
                <a:gd name="connsiteY3" fmla="*/ 0 h 257442"/>
                <a:gd name="connsiteX0" fmla="*/ 2192230 w 2192230"/>
                <a:gd name="connsiteY0" fmla="*/ 0 h 257442"/>
                <a:gd name="connsiteX1" fmla="*/ 2137509 w 2192230"/>
                <a:gd name="connsiteY1" fmla="*/ 257442 h 257442"/>
                <a:gd name="connsiteX2" fmla="*/ 0 w 2192230"/>
                <a:gd name="connsiteY2" fmla="*/ 257442 h 257442"/>
                <a:gd name="connsiteX3" fmla="*/ 54721 w 2192230"/>
                <a:gd name="connsiteY3" fmla="*/ 0 h 257442"/>
                <a:gd name="connsiteX0" fmla="*/ 2192230 w 2192230"/>
                <a:gd name="connsiteY0" fmla="*/ 0 h 257442"/>
                <a:gd name="connsiteX1" fmla="*/ 2137509 w 2192230"/>
                <a:gd name="connsiteY1" fmla="*/ 257442 h 257442"/>
                <a:gd name="connsiteX2" fmla="*/ 0 w 2192230"/>
                <a:gd name="connsiteY2" fmla="*/ 257442 h 257442"/>
                <a:gd name="connsiteX3" fmla="*/ 54720 w 2192230"/>
                <a:gd name="connsiteY3" fmla="*/ 0 h 257442"/>
                <a:gd name="connsiteX0" fmla="*/ 2360545 w 2360545"/>
                <a:gd name="connsiteY0" fmla="*/ 0 h 257442"/>
                <a:gd name="connsiteX1" fmla="*/ 2137509 w 2360545"/>
                <a:gd name="connsiteY1" fmla="*/ 257442 h 257442"/>
                <a:gd name="connsiteX2" fmla="*/ 0 w 2360545"/>
                <a:gd name="connsiteY2" fmla="*/ 257442 h 257442"/>
                <a:gd name="connsiteX3" fmla="*/ 54720 w 2360545"/>
                <a:gd name="connsiteY3" fmla="*/ 0 h 257442"/>
                <a:gd name="connsiteX0" fmla="*/ 2360545 w 2360545"/>
                <a:gd name="connsiteY0" fmla="*/ 0 h 257442"/>
                <a:gd name="connsiteX1" fmla="*/ 2305824 w 2360545"/>
                <a:gd name="connsiteY1" fmla="*/ 257442 h 257442"/>
                <a:gd name="connsiteX2" fmla="*/ 0 w 2360545"/>
                <a:gd name="connsiteY2" fmla="*/ 257442 h 257442"/>
                <a:gd name="connsiteX3" fmla="*/ 54720 w 2360545"/>
                <a:gd name="connsiteY3" fmla="*/ 0 h 257442"/>
                <a:gd name="connsiteX0" fmla="*/ 2360546 w 2360546"/>
                <a:gd name="connsiteY0" fmla="*/ 0 h 257442"/>
                <a:gd name="connsiteX1" fmla="*/ 2305825 w 2360546"/>
                <a:gd name="connsiteY1" fmla="*/ 257442 h 257442"/>
                <a:gd name="connsiteX2" fmla="*/ 0 w 2360546"/>
                <a:gd name="connsiteY2" fmla="*/ 257442 h 257442"/>
                <a:gd name="connsiteX3" fmla="*/ 54721 w 2360546"/>
                <a:gd name="connsiteY3" fmla="*/ 0 h 257442"/>
                <a:gd name="connsiteX0" fmla="*/ 2360546 w 2360546"/>
                <a:gd name="connsiteY0" fmla="*/ 0 h 257442"/>
                <a:gd name="connsiteX1" fmla="*/ 2305825 w 2360546"/>
                <a:gd name="connsiteY1" fmla="*/ 257442 h 257442"/>
                <a:gd name="connsiteX2" fmla="*/ 0 w 2360546"/>
                <a:gd name="connsiteY2" fmla="*/ 257442 h 257442"/>
                <a:gd name="connsiteX3" fmla="*/ 54721 w 2360546"/>
                <a:gd name="connsiteY3" fmla="*/ 0 h 257442"/>
                <a:gd name="connsiteX0" fmla="*/ 2659025 w 2659025"/>
                <a:gd name="connsiteY0" fmla="*/ 0 h 257442"/>
                <a:gd name="connsiteX1" fmla="*/ 2305825 w 2659025"/>
                <a:gd name="connsiteY1" fmla="*/ 257442 h 257442"/>
                <a:gd name="connsiteX2" fmla="*/ 0 w 2659025"/>
                <a:gd name="connsiteY2" fmla="*/ 257442 h 257442"/>
                <a:gd name="connsiteX3" fmla="*/ 54721 w 2659025"/>
                <a:gd name="connsiteY3" fmla="*/ 0 h 257442"/>
                <a:gd name="connsiteX0" fmla="*/ 2659025 w 2659025"/>
                <a:gd name="connsiteY0" fmla="*/ 0 h 257442"/>
                <a:gd name="connsiteX1" fmla="*/ 2604304 w 2659025"/>
                <a:gd name="connsiteY1" fmla="*/ 257442 h 257442"/>
                <a:gd name="connsiteX2" fmla="*/ 0 w 2659025"/>
                <a:gd name="connsiteY2" fmla="*/ 257442 h 257442"/>
                <a:gd name="connsiteX3" fmla="*/ 54721 w 2659025"/>
                <a:gd name="connsiteY3" fmla="*/ 0 h 257442"/>
                <a:gd name="connsiteX0" fmla="*/ 2659025 w 2659025"/>
                <a:gd name="connsiteY0" fmla="*/ 0 h 257442"/>
                <a:gd name="connsiteX1" fmla="*/ 2604304 w 2659025"/>
                <a:gd name="connsiteY1" fmla="*/ 257442 h 257442"/>
                <a:gd name="connsiteX2" fmla="*/ 0 w 2659025"/>
                <a:gd name="connsiteY2" fmla="*/ 257442 h 257442"/>
                <a:gd name="connsiteX3" fmla="*/ 54721 w 2659025"/>
                <a:gd name="connsiteY3" fmla="*/ 0 h 257442"/>
                <a:gd name="connsiteX0" fmla="*/ 2659025 w 2659025"/>
                <a:gd name="connsiteY0" fmla="*/ 0 h 257442"/>
                <a:gd name="connsiteX1" fmla="*/ 2604304 w 2659025"/>
                <a:gd name="connsiteY1" fmla="*/ 257442 h 257442"/>
                <a:gd name="connsiteX2" fmla="*/ 0 w 2659025"/>
                <a:gd name="connsiteY2" fmla="*/ 257442 h 257442"/>
                <a:gd name="connsiteX3" fmla="*/ 54721 w 2659025"/>
                <a:gd name="connsiteY3" fmla="*/ 0 h 257442"/>
                <a:gd name="connsiteX0" fmla="*/ 2819325 w 2819325"/>
                <a:gd name="connsiteY0" fmla="*/ 0 h 257442"/>
                <a:gd name="connsiteX1" fmla="*/ 2604304 w 2819325"/>
                <a:gd name="connsiteY1" fmla="*/ 257442 h 257442"/>
                <a:gd name="connsiteX2" fmla="*/ 0 w 2819325"/>
                <a:gd name="connsiteY2" fmla="*/ 257442 h 257442"/>
                <a:gd name="connsiteX3" fmla="*/ 54721 w 2819325"/>
                <a:gd name="connsiteY3" fmla="*/ 0 h 257442"/>
                <a:gd name="connsiteX0" fmla="*/ 2819325 w 2819325"/>
                <a:gd name="connsiteY0" fmla="*/ 0 h 257442"/>
                <a:gd name="connsiteX1" fmla="*/ 2764604 w 2819325"/>
                <a:gd name="connsiteY1" fmla="*/ 257442 h 257442"/>
                <a:gd name="connsiteX2" fmla="*/ 0 w 2819325"/>
                <a:gd name="connsiteY2" fmla="*/ 257442 h 257442"/>
                <a:gd name="connsiteX3" fmla="*/ 54721 w 2819325"/>
                <a:gd name="connsiteY3" fmla="*/ 0 h 257442"/>
                <a:gd name="connsiteX0" fmla="*/ 2819325 w 2819325"/>
                <a:gd name="connsiteY0" fmla="*/ 0 h 257442"/>
                <a:gd name="connsiteX1" fmla="*/ 2764604 w 2819325"/>
                <a:gd name="connsiteY1" fmla="*/ 257442 h 257442"/>
                <a:gd name="connsiteX2" fmla="*/ 0 w 2819325"/>
                <a:gd name="connsiteY2" fmla="*/ 257442 h 257442"/>
                <a:gd name="connsiteX3" fmla="*/ 54721 w 2819325"/>
                <a:gd name="connsiteY3" fmla="*/ 0 h 257442"/>
                <a:gd name="connsiteX0" fmla="*/ 2819325 w 2819325"/>
                <a:gd name="connsiteY0" fmla="*/ 0 h 257442"/>
                <a:gd name="connsiteX1" fmla="*/ 2764604 w 2819325"/>
                <a:gd name="connsiteY1" fmla="*/ 257442 h 257442"/>
                <a:gd name="connsiteX2" fmla="*/ 0 w 2819325"/>
                <a:gd name="connsiteY2" fmla="*/ 257442 h 257442"/>
                <a:gd name="connsiteX3" fmla="*/ 54721 w 2819325"/>
                <a:gd name="connsiteY3" fmla="*/ 0 h 257442"/>
                <a:gd name="connsiteX0" fmla="*/ 3080615 w 3080615"/>
                <a:gd name="connsiteY0" fmla="*/ 0 h 257442"/>
                <a:gd name="connsiteX1" fmla="*/ 2764604 w 3080615"/>
                <a:gd name="connsiteY1" fmla="*/ 257442 h 257442"/>
                <a:gd name="connsiteX2" fmla="*/ 0 w 3080615"/>
                <a:gd name="connsiteY2" fmla="*/ 257442 h 257442"/>
                <a:gd name="connsiteX3" fmla="*/ 54721 w 3080615"/>
                <a:gd name="connsiteY3" fmla="*/ 0 h 257442"/>
                <a:gd name="connsiteX0" fmla="*/ 3080615 w 3080615"/>
                <a:gd name="connsiteY0" fmla="*/ 0 h 257442"/>
                <a:gd name="connsiteX1" fmla="*/ 3025894 w 3080615"/>
                <a:gd name="connsiteY1" fmla="*/ 257442 h 257442"/>
                <a:gd name="connsiteX2" fmla="*/ 0 w 3080615"/>
                <a:gd name="connsiteY2" fmla="*/ 257442 h 257442"/>
                <a:gd name="connsiteX3" fmla="*/ 54721 w 3080615"/>
                <a:gd name="connsiteY3" fmla="*/ 0 h 257442"/>
                <a:gd name="connsiteX0" fmla="*/ 3080615 w 3080615"/>
                <a:gd name="connsiteY0" fmla="*/ 0 h 257442"/>
                <a:gd name="connsiteX1" fmla="*/ 3025894 w 3080615"/>
                <a:gd name="connsiteY1" fmla="*/ 257442 h 257442"/>
                <a:gd name="connsiteX2" fmla="*/ 0 w 3080615"/>
                <a:gd name="connsiteY2" fmla="*/ 257442 h 257442"/>
                <a:gd name="connsiteX3" fmla="*/ 54721 w 3080615"/>
                <a:gd name="connsiteY3" fmla="*/ 0 h 257442"/>
                <a:gd name="connsiteX0" fmla="*/ 3080615 w 3080615"/>
                <a:gd name="connsiteY0" fmla="*/ 0 h 257442"/>
                <a:gd name="connsiteX1" fmla="*/ 3025894 w 3080615"/>
                <a:gd name="connsiteY1" fmla="*/ 257442 h 257442"/>
                <a:gd name="connsiteX2" fmla="*/ 0 w 3080615"/>
                <a:gd name="connsiteY2" fmla="*/ 257442 h 257442"/>
                <a:gd name="connsiteX3" fmla="*/ 54721 w 3080615"/>
                <a:gd name="connsiteY3" fmla="*/ 0 h 257442"/>
                <a:gd name="connsiteX0" fmla="*/ 960419 w 3025894"/>
                <a:gd name="connsiteY0" fmla="*/ 0 h 257442"/>
                <a:gd name="connsiteX1" fmla="*/ 3025894 w 3025894"/>
                <a:gd name="connsiteY1" fmla="*/ 257442 h 257442"/>
                <a:gd name="connsiteX2" fmla="*/ 0 w 3025894"/>
                <a:gd name="connsiteY2" fmla="*/ 257442 h 257442"/>
                <a:gd name="connsiteX3" fmla="*/ 54721 w 3025894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960418 w 960418"/>
                <a:gd name="connsiteY0" fmla="*/ 0 h 257442"/>
                <a:gd name="connsiteX1" fmla="*/ 905697 w 960418"/>
                <a:gd name="connsiteY1" fmla="*/ 257442 h 257442"/>
                <a:gd name="connsiteX2" fmla="*/ 0 w 960418"/>
                <a:gd name="connsiteY2" fmla="*/ 257442 h 257442"/>
                <a:gd name="connsiteX3" fmla="*/ 54720 w 960418"/>
                <a:gd name="connsiteY3" fmla="*/ 0 h 257442"/>
                <a:gd name="connsiteX0" fmla="*/ 960418 w 960418"/>
                <a:gd name="connsiteY0" fmla="*/ 0 h 257442"/>
                <a:gd name="connsiteX1" fmla="*/ 905697 w 960418"/>
                <a:gd name="connsiteY1" fmla="*/ 257442 h 257442"/>
                <a:gd name="connsiteX2" fmla="*/ 0 w 960418"/>
                <a:gd name="connsiteY2" fmla="*/ 257442 h 257442"/>
                <a:gd name="connsiteX3" fmla="*/ 54720 w 960418"/>
                <a:gd name="connsiteY3" fmla="*/ 0 h 257442"/>
                <a:gd name="connsiteX0" fmla="*/ 1120717 w 1120717"/>
                <a:gd name="connsiteY0" fmla="*/ 0 h 257442"/>
                <a:gd name="connsiteX1" fmla="*/ 905697 w 1120717"/>
                <a:gd name="connsiteY1" fmla="*/ 257442 h 257442"/>
                <a:gd name="connsiteX2" fmla="*/ 0 w 1120717"/>
                <a:gd name="connsiteY2" fmla="*/ 257442 h 257442"/>
                <a:gd name="connsiteX3" fmla="*/ 54720 w 1120717"/>
                <a:gd name="connsiteY3" fmla="*/ 0 h 257442"/>
                <a:gd name="connsiteX0" fmla="*/ 1120717 w 1120717"/>
                <a:gd name="connsiteY0" fmla="*/ 0 h 257442"/>
                <a:gd name="connsiteX1" fmla="*/ 1065997 w 1120717"/>
                <a:gd name="connsiteY1" fmla="*/ 257442 h 257442"/>
                <a:gd name="connsiteX2" fmla="*/ 0 w 1120717"/>
                <a:gd name="connsiteY2" fmla="*/ 257442 h 257442"/>
                <a:gd name="connsiteX3" fmla="*/ 54720 w 1120717"/>
                <a:gd name="connsiteY3" fmla="*/ 0 h 257442"/>
                <a:gd name="connsiteX0" fmla="*/ 1120718 w 1120718"/>
                <a:gd name="connsiteY0" fmla="*/ 0 h 257442"/>
                <a:gd name="connsiteX1" fmla="*/ 1065998 w 1120718"/>
                <a:gd name="connsiteY1" fmla="*/ 257442 h 257442"/>
                <a:gd name="connsiteX2" fmla="*/ 0 w 1120718"/>
                <a:gd name="connsiteY2" fmla="*/ 257442 h 257442"/>
                <a:gd name="connsiteX3" fmla="*/ 54721 w 1120718"/>
                <a:gd name="connsiteY3" fmla="*/ 0 h 257442"/>
                <a:gd name="connsiteX0" fmla="*/ 1120718 w 1120718"/>
                <a:gd name="connsiteY0" fmla="*/ 0 h 257442"/>
                <a:gd name="connsiteX1" fmla="*/ 1065998 w 1120718"/>
                <a:gd name="connsiteY1" fmla="*/ 257442 h 257442"/>
                <a:gd name="connsiteX2" fmla="*/ 0 w 1120718"/>
                <a:gd name="connsiteY2" fmla="*/ 257442 h 257442"/>
                <a:gd name="connsiteX3" fmla="*/ 54721 w 1120718"/>
                <a:gd name="connsiteY3" fmla="*/ 0 h 257442"/>
                <a:gd name="connsiteX0" fmla="*/ 1298652 w 1298652"/>
                <a:gd name="connsiteY0" fmla="*/ 0 h 257442"/>
                <a:gd name="connsiteX1" fmla="*/ 1065998 w 1298652"/>
                <a:gd name="connsiteY1" fmla="*/ 257442 h 257442"/>
                <a:gd name="connsiteX2" fmla="*/ 0 w 1298652"/>
                <a:gd name="connsiteY2" fmla="*/ 257442 h 257442"/>
                <a:gd name="connsiteX3" fmla="*/ 54721 w 1298652"/>
                <a:gd name="connsiteY3" fmla="*/ 0 h 257442"/>
                <a:gd name="connsiteX0" fmla="*/ 1298652 w 1298652"/>
                <a:gd name="connsiteY0" fmla="*/ 0 h 257442"/>
                <a:gd name="connsiteX1" fmla="*/ 1243931 w 1298652"/>
                <a:gd name="connsiteY1" fmla="*/ 257442 h 257442"/>
                <a:gd name="connsiteX2" fmla="*/ 0 w 1298652"/>
                <a:gd name="connsiteY2" fmla="*/ 257442 h 257442"/>
                <a:gd name="connsiteX3" fmla="*/ 54721 w 1298652"/>
                <a:gd name="connsiteY3" fmla="*/ 0 h 257442"/>
                <a:gd name="connsiteX0" fmla="*/ 1298652 w 1298652"/>
                <a:gd name="connsiteY0" fmla="*/ 0 h 257442"/>
                <a:gd name="connsiteX1" fmla="*/ 1243931 w 1298652"/>
                <a:gd name="connsiteY1" fmla="*/ 257442 h 257442"/>
                <a:gd name="connsiteX2" fmla="*/ 0 w 1298652"/>
                <a:gd name="connsiteY2" fmla="*/ 257442 h 257442"/>
                <a:gd name="connsiteX3" fmla="*/ 54721 w 1298652"/>
                <a:gd name="connsiteY3" fmla="*/ 0 h 257442"/>
                <a:gd name="connsiteX0" fmla="*/ 1298652 w 1298652"/>
                <a:gd name="connsiteY0" fmla="*/ 0 h 257442"/>
                <a:gd name="connsiteX1" fmla="*/ 1243931 w 1298652"/>
                <a:gd name="connsiteY1" fmla="*/ 257442 h 257442"/>
                <a:gd name="connsiteX2" fmla="*/ 0 w 1298652"/>
                <a:gd name="connsiteY2" fmla="*/ 257442 h 257442"/>
                <a:gd name="connsiteX3" fmla="*/ 54721 w 1298652"/>
                <a:gd name="connsiteY3" fmla="*/ 0 h 257442"/>
                <a:gd name="connsiteX0" fmla="*/ 1559942 w 1559942"/>
                <a:gd name="connsiteY0" fmla="*/ 0 h 257442"/>
                <a:gd name="connsiteX1" fmla="*/ 1243931 w 1559942"/>
                <a:gd name="connsiteY1" fmla="*/ 257442 h 257442"/>
                <a:gd name="connsiteX2" fmla="*/ 0 w 1559942"/>
                <a:gd name="connsiteY2" fmla="*/ 257442 h 257442"/>
                <a:gd name="connsiteX3" fmla="*/ 54721 w 1559942"/>
                <a:gd name="connsiteY3" fmla="*/ 0 h 257442"/>
                <a:gd name="connsiteX0" fmla="*/ 1559942 w 1559942"/>
                <a:gd name="connsiteY0" fmla="*/ 0 h 257442"/>
                <a:gd name="connsiteX1" fmla="*/ 1505221 w 1559942"/>
                <a:gd name="connsiteY1" fmla="*/ 257442 h 257442"/>
                <a:gd name="connsiteX2" fmla="*/ 0 w 1559942"/>
                <a:gd name="connsiteY2" fmla="*/ 257442 h 257442"/>
                <a:gd name="connsiteX3" fmla="*/ 54721 w 1559942"/>
                <a:gd name="connsiteY3" fmla="*/ 0 h 257442"/>
                <a:gd name="connsiteX0" fmla="*/ 1559942 w 1559942"/>
                <a:gd name="connsiteY0" fmla="*/ 0 h 257442"/>
                <a:gd name="connsiteX1" fmla="*/ 1505221 w 1559942"/>
                <a:gd name="connsiteY1" fmla="*/ 257442 h 257442"/>
                <a:gd name="connsiteX2" fmla="*/ 0 w 1559942"/>
                <a:gd name="connsiteY2" fmla="*/ 257442 h 257442"/>
                <a:gd name="connsiteX3" fmla="*/ 54721 w 1559942"/>
                <a:gd name="connsiteY3" fmla="*/ 0 h 257442"/>
                <a:gd name="connsiteX0" fmla="*/ 1559942 w 1559942"/>
                <a:gd name="connsiteY0" fmla="*/ 0 h 257442"/>
                <a:gd name="connsiteX1" fmla="*/ 1505221 w 1559942"/>
                <a:gd name="connsiteY1" fmla="*/ 257442 h 257442"/>
                <a:gd name="connsiteX2" fmla="*/ 0 w 1559942"/>
                <a:gd name="connsiteY2" fmla="*/ 257442 h 257442"/>
                <a:gd name="connsiteX3" fmla="*/ 54721 w 1559942"/>
                <a:gd name="connsiteY3" fmla="*/ 0 h 257442"/>
                <a:gd name="connsiteX0" fmla="*/ 1720242 w 1720242"/>
                <a:gd name="connsiteY0" fmla="*/ 0 h 257442"/>
                <a:gd name="connsiteX1" fmla="*/ 1505221 w 1720242"/>
                <a:gd name="connsiteY1" fmla="*/ 257442 h 257442"/>
                <a:gd name="connsiteX2" fmla="*/ 0 w 1720242"/>
                <a:gd name="connsiteY2" fmla="*/ 257442 h 257442"/>
                <a:gd name="connsiteX3" fmla="*/ 54721 w 1720242"/>
                <a:gd name="connsiteY3" fmla="*/ 0 h 257442"/>
                <a:gd name="connsiteX0" fmla="*/ 1720242 w 1720242"/>
                <a:gd name="connsiteY0" fmla="*/ 0 h 257442"/>
                <a:gd name="connsiteX1" fmla="*/ 1665522 w 1720242"/>
                <a:gd name="connsiteY1" fmla="*/ 257442 h 257442"/>
                <a:gd name="connsiteX2" fmla="*/ 0 w 1720242"/>
                <a:gd name="connsiteY2" fmla="*/ 257442 h 257442"/>
                <a:gd name="connsiteX3" fmla="*/ 54721 w 1720242"/>
                <a:gd name="connsiteY3" fmla="*/ 0 h 257442"/>
                <a:gd name="connsiteX0" fmla="*/ 1720242 w 1720242"/>
                <a:gd name="connsiteY0" fmla="*/ 0 h 257442"/>
                <a:gd name="connsiteX1" fmla="*/ 1665522 w 1720242"/>
                <a:gd name="connsiteY1" fmla="*/ 257442 h 257442"/>
                <a:gd name="connsiteX2" fmla="*/ 0 w 1720242"/>
                <a:gd name="connsiteY2" fmla="*/ 257442 h 257442"/>
                <a:gd name="connsiteX3" fmla="*/ 54721 w 1720242"/>
                <a:gd name="connsiteY3" fmla="*/ 0 h 257442"/>
                <a:gd name="connsiteX0" fmla="*/ 1720242 w 1720242"/>
                <a:gd name="connsiteY0" fmla="*/ 0 h 257442"/>
                <a:gd name="connsiteX1" fmla="*/ 1665522 w 1720242"/>
                <a:gd name="connsiteY1" fmla="*/ 257442 h 257442"/>
                <a:gd name="connsiteX2" fmla="*/ 0 w 1720242"/>
                <a:gd name="connsiteY2" fmla="*/ 257442 h 257442"/>
                <a:gd name="connsiteX3" fmla="*/ 54721 w 1720242"/>
                <a:gd name="connsiteY3" fmla="*/ 0 h 257442"/>
                <a:gd name="connsiteX0" fmla="*/ 1973517 w 1973517"/>
                <a:gd name="connsiteY0" fmla="*/ 0 h 257442"/>
                <a:gd name="connsiteX1" fmla="*/ 1665522 w 1973517"/>
                <a:gd name="connsiteY1" fmla="*/ 257442 h 257442"/>
                <a:gd name="connsiteX2" fmla="*/ 0 w 1973517"/>
                <a:gd name="connsiteY2" fmla="*/ 257442 h 257442"/>
                <a:gd name="connsiteX3" fmla="*/ 54721 w 1973517"/>
                <a:gd name="connsiteY3" fmla="*/ 0 h 257442"/>
                <a:gd name="connsiteX0" fmla="*/ 1973517 w 1973517"/>
                <a:gd name="connsiteY0" fmla="*/ 0 h 257442"/>
                <a:gd name="connsiteX1" fmla="*/ 1918796 w 1973517"/>
                <a:gd name="connsiteY1" fmla="*/ 257442 h 257442"/>
                <a:gd name="connsiteX2" fmla="*/ 0 w 1973517"/>
                <a:gd name="connsiteY2" fmla="*/ 257442 h 257442"/>
                <a:gd name="connsiteX3" fmla="*/ 54721 w 1973517"/>
                <a:gd name="connsiteY3" fmla="*/ 0 h 257442"/>
                <a:gd name="connsiteX0" fmla="*/ 1973517 w 1973517"/>
                <a:gd name="connsiteY0" fmla="*/ 0 h 257442"/>
                <a:gd name="connsiteX1" fmla="*/ 1918796 w 1973517"/>
                <a:gd name="connsiteY1" fmla="*/ 257442 h 257442"/>
                <a:gd name="connsiteX2" fmla="*/ 0 w 1973517"/>
                <a:gd name="connsiteY2" fmla="*/ 257442 h 257442"/>
                <a:gd name="connsiteX3" fmla="*/ 54721 w 1973517"/>
                <a:gd name="connsiteY3" fmla="*/ 0 h 257442"/>
                <a:gd name="connsiteX0" fmla="*/ 1973517 w 1973517"/>
                <a:gd name="connsiteY0" fmla="*/ 0 h 257442"/>
                <a:gd name="connsiteX1" fmla="*/ 1918796 w 1973517"/>
                <a:gd name="connsiteY1" fmla="*/ 257442 h 257442"/>
                <a:gd name="connsiteX2" fmla="*/ 0 w 1973517"/>
                <a:gd name="connsiteY2" fmla="*/ 257442 h 257442"/>
                <a:gd name="connsiteX3" fmla="*/ 54721 w 1973517"/>
                <a:gd name="connsiteY3" fmla="*/ 0 h 257442"/>
                <a:gd name="connsiteX0" fmla="*/ 2303736 w 2303736"/>
                <a:gd name="connsiteY0" fmla="*/ 0 h 257442"/>
                <a:gd name="connsiteX1" fmla="*/ 1918796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303736 w 2303736"/>
                <a:gd name="connsiteY0" fmla="*/ 0 h 257442"/>
                <a:gd name="connsiteX1" fmla="*/ 2249014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303737 w 2303737"/>
                <a:gd name="connsiteY0" fmla="*/ 0 h 257442"/>
                <a:gd name="connsiteX1" fmla="*/ 2249015 w 2303737"/>
                <a:gd name="connsiteY1" fmla="*/ 257442 h 257442"/>
                <a:gd name="connsiteX2" fmla="*/ 0 w 2303737"/>
                <a:gd name="connsiteY2" fmla="*/ 257442 h 257442"/>
                <a:gd name="connsiteX3" fmla="*/ 54722 w 2303737"/>
                <a:gd name="connsiteY3" fmla="*/ 0 h 257442"/>
                <a:gd name="connsiteX0" fmla="*/ 2303737 w 2303737"/>
                <a:gd name="connsiteY0" fmla="*/ 0 h 257442"/>
                <a:gd name="connsiteX1" fmla="*/ 2249015 w 2303737"/>
                <a:gd name="connsiteY1" fmla="*/ 257442 h 257442"/>
                <a:gd name="connsiteX2" fmla="*/ 0 w 2303737"/>
                <a:gd name="connsiteY2" fmla="*/ 257442 h 257442"/>
                <a:gd name="connsiteX3" fmla="*/ 54722 w 2303737"/>
                <a:gd name="connsiteY3" fmla="*/ 0 h 257442"/>
                <a:gd name="connsiteX0" fmla="*/ 2481669 w 2481669"/>
                <a:gd name="connsiteY0" fmla="*/ 0 h 257442"/>
                <a:gd name="connsiteX1" fmla="*/ 2249015 w 2481669"/>
                <a:gd name="connsiteY1" fmla="*/ 257442 h 257442"/>
                <a:gd name="connsiteX2" fmla="*/ 0 w 2481669"/>
                <a:gd name="connsiteY2" fmla="*/ 257442 h 257442"/>
                <a:gd name="connsiteX3" fmla="*/ 54722 w 2481669"/>
                <a:gd name="connsiteY3" fmla="*/ 0 h 257442"/>
                <a:gd name="connsiteX0" fmla="*/ 2481669 w 2481669"/>
                <a:gd name="connsiteY0" fmla="*/ 0 h 257442"/>
                <a:gd name="connsiteX1" fmla="*/ 2426948 w 2481669"/>
                <a:gd name="connsiteY1" fmla="*/ 257442 h 257442"/>
                <a:gd name="connsiteX2" fmla="*/ 0 w 2481669"/>
                <a:gd name="connsiteY2" fmla="*/ 257442 h 257442"/>
                <a:gd name="connsiteX3" fmla="*/ 54722 w 2481669"/>
                <a:gd name="connsiteY3" fmla="*/ 0 h 257442"/>
                <a:gd name="connsiteX0" fmla="*/ 2481668 w 2481668"/>
                <a:gd name="connsiteY0" fmla="*/ 0 h 257442"/>
                <a:gd name="connsiteX1" fmla="*/ 2426947 w 2481668"/>
                <a:gd name="connsiteY1" fmla="*/ 257442 h 257442"/>
                <a:gd name="connsiteX2" fmla="*/ 0 w 2481668"/>
                <a:gd name="connsiteY2" fmla="*/ 257442 h 257442"/>
                <a:gd name="connsiteX3" fmla="*/ 54721 w 2481668"/>
                <a:gd name="connsiteY3" fmla="*/ 0 h 257442"/>
                <a:gd name="connsiteX0" fmla="*/ 2481668 w 2481668"/>
                <a:gd name="connsiteY0" fmla="*/ 0 h 257442"/>
                <a:gd name="connsiteX1" fmla="*/ 2426947 w 2481668"/>
                <a:gd name="connsiteY1" fmla="*/ 257442 h 257442"/>
                <a:gd name="connsiteX2" fmla="*/ 0 w 2481668"/>
                <a:gd name="connsiteY2" fmla="*/ 257442 h 257442"/>
                <a:gd name="connsiteX3" fmla="*/ 54720 w 2481668"/>
                <a:gd name="connsiteY3" fmla="*/ 0 h 257442"/>
                <a:gd name="connsiteX0" fmla="*/ 2649983 w 2649983"/>
                <a:gd name="connsiteY0" fmla="*/ 0 h 257442"/>
                <a:gd name="connsiteX1" fmla="*/ 2426947 w 2649983"/>
                <a:gd name="connsiteY1" fmla="*/ 257442 h 257442"/>
                <a:gd name="connsiteX2" fmla="*/ 0 w 2649983"/>
                <a:gd name="connsiteY2" fmla="*/ 257442 h 257442"/>
                <a:gd name="connsiteX3" fmla="*/ 54720 w 2649983"/>
                <a:gd name="connsiteY3" fmla="*/ 0 h 257442"/>
                <a:gd name="connsiteX0" fmla="*/ 2649983 w 2649983"/>
                <a:gd name="connsiteY0" fmla="*/ 0 h 257442"/>
                <a:gd name="connsiteX1" fmla="*/ 2595262 w 2649983"/>
                <a:gd name="connsiteY1" fmla="*/ 257442 h 257442"/>
                <a:gd name="connsiteX2" fmla="*/ 0 w 2649983"/>
                <a:gd name="connsiteY2" fmla="*/ 257442 h 257442"/>
                <a:gd name="connsiteX3" fmla="*/ 54720 w 2649983"/>
                <a:gd name="connsiteY3" fmla="*/ 0 h 257442"/>
                <a:gd name="connsiteX0" fmla="*/ 2649984 w 2649984"/>
                <a:gd name="connsiteY0" fmla="*/ 0 h 257442"/>
                <a:gd name="connsiteX1" fmla="*/ 2595263 w 2649984"/>
                <a:gd name="connsiteY1" fmla="*/ 257442 h 257442"/>
                <a:gd name="connsiteX2" fmla="*/ 0 w 2649984"/>
                <a:gd name="connsiteY2" fmla="*/ 257442 h 257442"/>
                <a:gd name="connsiteX3" fmla="*/ 54721 w 2649984"/>
                <a:gd name="connsiteY3" fmla="*/ 0 h 257442"/>
                <a:gd name="connsiteX0" fmla="*/ 2649984 w 2649984"/>
                <a:gd name="connsiteY0" fmla="*/ 0 h 257442"/>
                <a:gd name="connsiteX1" fmla="*/ 2595263 w 2649984"/>
                <a:gd name="connsiteY1" fmla="*/ 257442 h 257442"/>
                <a:gd name="connsiteX2" fmla="*/ 0 w 2649984"/>
                <a:gd name="connsiteY2" fmla="*/ 257442 h 257442"/>
                <a:gd name="connsiteX3" fmla="*/ 54721 w 2649984"/>
                <a:gd name="connsiteY3" fmla="*/ 0 h 257442"/>
                <a:gd name="connsiteX0" fmla="*/ 2812593 w 2812593"/>
                <a:gd name="connsiteY0" fmla="*/ 0 h 257442"/>
                <a:gd name="connsiteX1" fmla="*/ 2595263 w 2812593"/>
                <a:gd name="connsiteY1" fmla="*/ 257442 h 257442"/>
                <a:gd name="connsiteX2" fmla="*/ 0 w 2812593"/>
                <a:gd name="connsiteY2" fmla="*/ 257442 h 257442"/>
                <a:gd name="connsiteX3" fmla="*/ 54721 w 2812593"/>
                <a:gd name="connsiteY3" fmla="*/ 0 h 257442"/>
                <a:gd name="connsiteX0" fmla="*/ 2812593 w 2812593"/>
                <a:gd name="connsiteY0" fmla="*/ 0 h 257442"/>
                <a:gd name="connsiteX1" fmla="*/ 2757872 w 2812593"/>
                <a:gd name="connsiteY1" fmla="*/ 257442 h 257442"/>
                <a:gd name="connsiteX2" fmla="*/ 0 w 2812593"/>
                <a:gd name="connsiteY2" fmla="*/ 257442 h 257442"/>
                <a:gd name="connsiteX3" fmla="*/ 54721 w 2812593"/>
                <a:gd name="connsiteY3" fmla="*/ 0 h 257442"/>
                <a:gd name="connsiteX0" fmla="*/ 2812593 w 2812593"/>
                <a:gd name="connsiteY0" fmla="*/ 0 h 257442"/>
                <a:gd name="connsiteX1" fmla="*/ 2757872 w 2812593"/>
                <a:gd name="connsiteY1" fmla="*/ 257442 h 257442"/>
                <a:gd name="connsiteX2" fmla="*/ 0 w 2812593"/>
                <a:gd name="connsiteY2" fmla="*/ 257442 h 257442"/>
                <a:gd name="connsiteX3" fmla="*/ 54721 w 2812593"/>
                <a:gd name="connsiteY3" fmla="*/ 0 h 257442"/>
                <a:gd name="connsiteX0" fmla="*/ 2812593 w 2812593"/>
                <a:gd name="connsiteY0" fmla="*/ 0 h 257442"/>
                <a:gd name="connsiteX1" fmla="*/ 2757872 w 2812593"/>
                <a:gd name="connsiteY1" fmla="*/ 257442 h 257442"/>
                <a:gd name="connsiteX2" fmla="*/ 0 w 2812593"/>
                <a:gd name="connsiteY2" fmla="*/ 257442 h 257442"/>
                <a:gd name="connsiteX3" fmla="*/ 54721 w 2812593"/>
                <a:gd name="connsiteY3" fmla="*/ 0 h 257442"/>
                <a:gd name="connsiteX0" fmla="*/ 2649984 w 2757872"/>
                <a:gd name="connsiteY0" fmla="*/ 0 h 257442"/>
                <a:gd name="connsiteX1" fmla="*/ 2757872 w 2757872"/>
                <a:gd name="connsiteY1" fmla="*/ 257442 h 257442"/>
                <a:gd name="connsiteX2" fmla="*/ 0 w 2757872"/>
                <a:gd name="connsiteY2" fmla="*/ 257442 h 257442"/>
                <a:gd name="connsiteX3" fmla="*/ 54721 w 2757872"/>
                <a:gd name="connsiteY3" fmla="*/ 0 h 257442"/>
                <a:gd name="connsiteX0" fmla="*/ 2649984 w 2649984"/>
                <a:gd name="connsiteY0" fmla="*/ 0 h 257442"/>
                <a:gd name="connsiteX1" fmla="*/ 2595263 w 2649984"/>
                <a:gd name="connsiteY1" fmla="*/ 257442 h 257442"/>
                <a:gd name="connsiteX2" fmla="*/ 0 w 2649984"/>
                <a:gd name="connsiteY2" fmla="*/ 257442 h 257442"/>
                <a:gd name="connsiteX3" fmla="*/ 54721 w 2649984"/>
                <a:gd name="connsiteY3" fmla="*/ 0 h 257442"/>
                <a:gd name="connsiteX0" fmla="*/ 2649984 w 2649984"/>
                <a:gd name="connsiteY0" fmla="*/ 0 h 257442"/>
                <a:gd name="connsiteX1" fmla="*/ 2595263 w 2649984"/>
                <a:gd name="connsiteY1" fmla="*/ 257442 h 257442"/>
                <a:gd name="connsiteX2" fmla="*/ 0 w 2649984"/>
                <a:gd name="connsiteY2" fmla="*/ 257442 h 257442"/>
                <a:gd name="connsiteX3" fmla="*/ 54721 w 2649984"/>
                <a:gd name="connsiteY3" fmla="*/ 0 h 257442"/>
                <a:gd name="connsiteX0" fmla="*/ 2649984 w 2649984"/>
                <a:gd name="connsiteY0" fmla="*/ 0 h 257442"/>
                <a:gd name="connsiteX1" fmla="*/ 2595263 w 2649984"/>
                <a:gd name="connsiteY1" fmla="*/ 257442 h 257442"/>
                <a:gd name="connsiteX2" fmla="*/ 0 w 2649984"/>
                <a:gd name="connsiteY2" fmla="*/ 257442 h 257442"/>
                <a:gd name="connsiteX3" fmla="*/ 54721 w 2649984"/>
                <a:gd name="connsiteY3" fmla="*/ 0 h 257442"/>
                <a:gd name="connsiteX0" fmla="*/ 2481668 w 2595263"/>
                <a:gd name="connsiteY0" fmla="*/ 0 h 257442"/>
                <a:gd name="connsiteX1" fmla="*/ 2595263 w 2595263"/>
                <a:gd name="connsiteY1" fmla="*/ 257442 h 257442"/>
                <a:gd name="connsiteX2" fmla="*/ 0 w 2595263"/>
                <a:gd name="connsiteY2" fmla="*/ 257442 h 257442"/>
                <a:gd name="connsiteX3" fmla="*/ 54721 w 2595263"/>
                <a:gd name="connsiteY3" fmla="*/ 0 h 257442"/>
                <a:gd name="connsiteX0" fmla="*/ 2481668 w 2481668"/>
                <a:gd name="connsiteY0" fmla="*/ 0 h 257442"/>
                <a:gd name="connsiteX1" fmla="*/ 2426948 w 2481668"/>
                <a:gd name="connsiteY1" fmla="*/ 257442 h 257442"/>
                <a:gd name="connsiteX2" fmla="*/ 0 w 2481668"/>
                <a:gd name="connsiteY2" fmla="*/ 257442 h 257442"/>
                <a:gd name="connsiteX3" fmla="*/ 54721 w 2481668"/>
                <a:gd name="connsiteY3" fmla="*/ 0 h 257442"/>
                <a:gd name="connsiteX0" fmla="*/ 2481667 w 2481667"/>
                <a:gd name="connsiteY0" fmla="*/ 0 h 257442"/>
                <a:gd name="connsiteX1" fmla="*/ 2426947 w 2481667"/>
                <a:gd name="connsiteY1" fmla="*/ 257442 h 257442"/>
                <a:gd name="connsiteX2" fmla="*/ 0 w 2481667"/>
                <a:gd name="connsiteY2" fmla="*/ 257442 h 257442"/>
                <a:gd name="connsiteX3" fmla="*/ 54720 w 2481667"/>
                <a:gd name="connsiteY3" fmla="*/ 0 h 257442"/>
                <a:gd name="connsiteX0" fmla="*/ 2481667 w 2481667"/>
                <a:gd name="connsiteY0" fmla="*/ 0 h 257442"/>
                <a:gd name="connsiteX1" fmla="*/ 2426947 w 2481667"/>
                <a:gd name="connsiteY1" fmla="*/ 257442 h 257442"/>
                <a:gd name="connsiteX2" fmla="*/ 0 w 2481667"/>
                <a:gd name="connsiteY2" fmla="*/ 257442 h 257442"/>
                <a:gd name="connsiteX3" fmla="*/ 54721 w 2481667"/>
                <a:gd name="connsiteY3" fmla="*/ 0 h 257442"/>
                <a:gd name="connsiteX0" fmla="*/ 2303736 w 2426947"/>
                <a:gd name="connsiteY0" fmla="*/ 0 h 257442"/>
                <a:gd name="connsiteX1" fmla="*/ 2426947 w 2426947"/>
                <a:gd name="connsiteY1" fmla="*/ 257442 h 257442"/>
                <a:gd name="connsiteX2" fmla="*/ 0 w 2426947"/>
                <a:gd name="connsiteY2" fmla="*/ 257442 h 257442"/>
                <a:gd name="connsiteX3" fmla="*/ 54721 w 2426947"/>
                <a:gd name="connsiteY3" fmla="*/ 0 h 257442"/>
                <a:gd name="connsiteX0" fmla="*/ 2303736 w 2303736"/>
                <a:gd name="connsiteY0" fmla="*/ 0 h 257442"/>
                <a:gd name="connsiteX1" fmla="*/ 2249015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303736 w 2303736"/>
                <a:gd name="connsiteY0" fmla="*/ 0 h 257442"/>
                <a:gd name="connsiteX1" fmla="*/ 2249015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303736 w 2303736"/>
                <a:gd name="connsiteY0" fmla="*/ 0 h 257442"/>
                <a:gd name="connsiteX1" fmla="*/ 2249015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125802 w 2249015"/>
                <a:gd name="connsiteY0" fmla="*/ 0 h 257442"/>
                <a:gd name="connsiteX1" fmla="*/ 2249015 w 2249015"/>
                <a:gd name="connsiteY1" fmla="*/ 257442 h 257442"/>
                <a:gd name="connsiteX2" fmla="*/ 0 w 2249015"/>
                <a:gd name="connsiteY2" fmla="*/ 257442 h 257442"/>
                <a:gd name="connsiteX3" fmla="*/ 54721 w 2249015"/>
                <a:gd name="connsiteY3" fmla="*/ 0 h 257442"/>
                <a:gd name="connsiteX0" fmla="*/ 2125802 w 2125802"/>
                <a:gd name="connsiteY0" fmla="*/ 0 h 257442"/>
                <a:gd name="connsiteX1" fmla="*/ 2071082 w 2125802"/>
                <a:gd name="connsiteY1" fmla="*/ 257442 h 257442"/>
                <a:gd name="connsiteX2" fmla="*/ 0 w 2125802"/>
                <a:gd name="connsiteY2" fmla="*/ 257442 h 257442"/>
                <a:gd name="connsiteX3" fmla="*/ 54721 w 2125802"/>
                <a:gd name="connsiteY3" fmla="*/ 0 h 257442"/>
                <a:gd name="connsiteX0" fmla="*/ 2125801 w 2125801"/>
                <a:gd name="connsiteY0" fmla="*/ 0 h 257442"/>
                <a:gd name="connsiteX1" fmla="*/ 2071081 w 2125801"/>
                <a:gd name="connsiteY1" fmla="*/ 257442 h 257442"/>
                <a:gd name="connsiteX2" fmla="*/ 0 w 2125801"/>
                <a:gd name="connsiteY2" fmla="*/ 257442 h 257442"/>
                <a:gd name="connsiteX3" fmla="*/ 54720 w 2125801"/>
                <a:gd name="connsiteY3" fmla="*/ 0 h 257442"/>
                <a:gd name="connsiteX0" fmla="*/ 2125801 w 2125801"/>
                <a:gd name="connsiteY0" fmla="*/ 0 h 257442"/>
                <a:gd name="connsiteX1" fmla="*/ 2071081 w 2125801"/>
                <a:gd name="connsiteY1" fmla="*/ 257442 h 257442"/>
                <a:gd name="connsiteX2" fmla="*/ 0 w 2125801"/>
                <a:gd name="connsiteY2" fmla="*/ 257442 h 257442"/>
                <a:gd name="connsiteX3" fmla="*/ 54721 w 2125801"/>
                <a:gd name="connsiteY3" fmla="*/ 0 h 257442"/>
                <a:gd name="connsiteX0" fmla="*/ 2303736 w 2303736"/>
                <a:gd name="connsiteY0" fmla="*/ 0 h 257442"/>
                <a:gd name="connsiteX1" fmla="*/ 2071081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303736 w 2303736"/>
                <a:gd name="connsiteY0" fmla="*/ 0 h 257442"/>
                <a:gd name="connsiteX1" fmla="*/ 2249014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303737 w 2303737"/>
                <a:gd name="connsiteY0" fmla="*/ 0 h 257442"/>
                <a:gd name="connsiteX1" fmla="*/ 2249015 w 2303737"/>
                <a:gd name="connsiteY1" fmla="*/ 257442 h 257442"/>
                <a:gd name="connsiteX2" fmla="*/ 0 w 2303737"/>
                <a:gd name="connsiteY2" fmla="*/ 257442 h 257442"/>
                <a:gd name="connsiteX3" fmla="*/ 54722 w 2303737"/>
                <a:gd name="connsiteY3" fmla="*/ 0 h 257442"/>
                <a:gd name="connsiteX0" fmla="*/ 2303737 w 2303737"/>
                <a:gd name="connsiteY0" fmla="*/ 0 h 257442"/>
                <a:gd name="connsiteX1" fmla="*/ 2249015 w 2303737"/>
                <a:gd name="connsiteY1" fmla="*/ 257442 h 257442"/>
                <a:gd name="connsiteX2" fmla="*/ 0 w 2303737"/>
                <a:gd name="connsiteY2" fmla="*/ 257442 h 257442"/>
                <a:gd name="connsiteX3" fmla="*/ 54722 w 2303737"/>
                <a:gd name="connsiteY3" fmla="*/ 0 h 257442"/>
                <a:gd name="connsiteX0" fmla="*/ 2472051 w 2472051"/>
                <a:gd name="connsiteY0" fmla="*/ 0 h 257442"/>
                <a:gd name="connsiteX1" fmla="*/ 2249015 w 2472051"/>
                <a:gd name="connsiteY1" fmla="*/ 257442 h 257442"/>
                <a:gd name="connsiteX2" fmla="*/ 0 w 2472051"/>
                <a:gd name="connsiteY2" fmla="*/ 257442 h 257442"/>
                <a:gd name="connsiteX3" fmla="*/ 54722 w 2472051"/>
                <a:gd name="connsiteY3" fmla="*/ 0 h 257442"/>
                <a:gd name="connsiteX0" fmla="*/ 2472051 w 2472051"/>
                <a:gd name="connsiteY0" fmla="*/ 0 h 257442"/>
                <a:gd name="connsiteX1" fmla="*/ 2417330 w 2472051"/>
                <a:gd name="connsiteY1" fmla="*/ 257442 h 257442"/>
                <a:gd name="connsiteX2" fmla="*/ 0 w 2472051"/>
                <a:gd name="connsiteY2" fmla="*/ 257442 h 257442"/>
                <a:gd name="connsiteX3" fmla="*/ 54722 w 2472051"/>
                <a:gd name="connsiteY3" fmla="*/ 0 h 257442"/>
                <a:gd name="connsiteX0" fmla="*/ 2472050 w 2472050"/>
                <a:gd name="connsiteY0" fmla="*/ 0 h 257442"/>
                <a:gd name="connsiteX1" fmla="*/ 2417329 w 2472050"/>
                <a:gd name="connsiteY1" fmla="*/ 257442 h 257442"/>
                <a:gd name="connsiteX2" fmla="*/ 0 w 2472050"/>
                <a:gd name="connsiteY2" fmla="*/ 257442 h 257442"/>
                <a:gd name="connsiteX3" fmla="*/ 54721 w 2472050"/>
                <a:gd name="connsiteY3" fmla="*/ 0 h 257442"/>
                <a:gd name="connsiteX0" fmla="*/ 2472050 w 2472050"/>
                <a:gd name="connsiteY0" fmla="*/ 0 h 257442"/>
                <a:gd name="connsiteX1" fmla="*/ 2417329 w 2472050"/>
                <a:gd name="connsiteY1" fmla="*/ 257442 h 257442"/>
                <a:gd name="connsiteX2" fmla="*/ 0 w 2472050"/>
                <a:gd name="connsiteY2" fmla="*/ 257442 h 257442"/>
                <a:gd name="connsiteX3" fmla="*/ 54720 w 2472050"/>
                <a:gd name="connsiteY3" fmla="*/ 0 h 257442"/>
                <a:gd name="connsiteX0" fmla="*/ 2634658 w 2634658"/>
                <a:gd name="connsiteY0" fmla="*/ 0 h 257442"/>
                <a:gd name="connsiteX1" fmla="*/ 2417329 w 2634658"/>
                <a:gd name="connsiteY1" fmla="*/ 257442 h 257442"/>
                <a:gd name="connsiteX2" fmla="*/ 0 w 2634658"/>
                <a:gd name="connsiteY2" fmla="*/ 257442 h 257442"/>
                <a:gd name="connsiteX3" fmla="*/ 54720 w 2634658"/>
                <a:gd name="connsiteY3" fmla="*/ 0 h 257442"/>
                <a:gd name="connsiteX0" fmla="*/ 2634658 w 2634658"/>
                <a:gd name="connsiteY0" fmla="*/ 0 h 257442"/>
                <a:gd name="connsiteX1" fmla="*/ 2579937 w 2634658"/>
                <a:gd name="connsiteY1" fmla="*/ 257442 h 257442"/>
                <a:gd name="connsiteX2" fmla="*/ 0 w 2634658"/>
                <a:gd name="connsiteY2" fmla="*/ 257442 h 257442"/>
                <a:gd name="connsiteX3" fmla="*/ 54720 w 2634658"/>
                <a:gd name="connsiteY3" fmla="*/ 0 h 257442"/>
                <a:gd name="connsiteX0" fmla="*/ 2634659 w 2634659"/>
                <a:gd name="connsiteY0" fmla="*/ 0 h 257442"/>
                <a:gd name="connsiteX1" fmla="*/ 2579938 w 2634659"/>
                <a:gd name="connsiteY1" fmla="*/ 257442 h 257442"/>
                <a:gd name="connsiteX2" fmla="*/ 0 w 2634659"/>
                <a:gd name="connsiteY2" fmla="*/ 257442 h 257442"/>
                <a:gd name="connsiteX3" fmla="*/ 54721 w 2634659"/>
                <a:gd name="connsiteY3" fmla="*/ 0 h 257442"/>
                <a:gd name="connsiteX0" fmla="*/ 2634659 w 2634659"/>
                <a:gd name="connsiteY0" fmla="*/ 0 h 257442"/>
                <a:gd name="connsiteX1" fmla="*/ 2579938 w 2634659"/>
                <a:gd name="connsiteY1" fmla="*/ 257442 h 257442"/>
                <a:gd name="connsiteX2" fmla="*/ 0 w 2634659"/>
                <a:gd name="connsiteY2" fmla="*/ 257442 h 257442"/>
                <a:gd name="connsiteX3" fmla="*/ 54722 w 2634659"/>
                <a:gd name="connsiteY3" fmla="*/ 0 h 257442"/>
                <a:gd name="connsiteX0" fmla="*/ 2797910 w 2797910"/>
                <a:gd name="connsiteY0" fmla="*/ 0 h 257442"/>
                <a:gd name="connsiteX1" fmla="*/ 2579938 w 2797910"/>
                <a:gd name="connsiteY1" fmla="*/ 257442 h 257442"/>
                <a:gd name="connsiteX2" fmla="*/ 0 w 2797910"/>
                <a:gd name="connsiteY2" fmla="*/ 257442 h 257442"/>
                <a:gd name="connsiteX3" fmla="*/ 54722 w 2797910"/>
                <a:gd name="connsiteY3" fmla="*/ 0 h 257442"/>
                <a:gd name="connsiteX0" fmla="*/ 2797910 w 2797910"/>
                <a:gd name="connsiteY0" fmla="*/ 0 h 257442"/>
                <a:gd name="connsiteX1" fmla="*/ 2743188 w 2797910"/>
                <a:gd name="connsiteY1" fmla="*/ 257442 h 257442"/>
                <a:gd name="connsiteX2" fmla="*/ 0 w 2797910"/>
                <a:gd name="connsiteY2" fmla="*/ 257442 h 257442"/>
                <a:gd name="connsiteX3" fmla="*/ 54722 w 2797910"/>
                <a:gd name="connsiteY3" fmla="*/ 0 h 257442"/>
                <a:gd name="connsiteX0" fmla="*/ 2797910 w 2797910"/>
                <a:gd name="connsiteY0" fmla="*/ 0 h 257442"/>
                <a:gd name="connsiteX1" fmla="*/ 2743188 w 2797910"/>
                <a:gd name="connsiteY1" fmla="*/ 257442 h 257442"/>
                <a:gd name="connsiteX2" fmla="*/ 0 w 2797910"/>
                <a:gd name="connsiteY2" fmla="*/ 257442 h 257442"/>
                <a:gd name="connsiteX3" fmla="*/ 54722 w 2797910"/>
                <a:gd name="connsiteY3" fmla="*/ 0 h 257442"/>
                <a:gd name="connsiteX0" fmla="*/ 2797910 w 2797910"/>
                <a:gd name="connsiteY0" fmla="*/ 0 h 257442"/>
                <a:gd name="connsiteX1" fmla="*/ 2743188 w 2797910"/>
                <a:gd name="connsiteY1" fmla="*/ 257442 h 257442"/>
                <a:gd name="connsiteX2" fmla="*/ 0 w 2797910"/>
                <a:gd name="connsiteY2" fmla="*/ 257442 h 257442"/>
                <a:gd name="connsiteX3" fmla="*/ 54721 w 2797910"/>
                <a:gd name="connsiteY3" fmla="*/ 0 h 257442"/>
                <a:gd name="connsiteX0" fmla="*/ 2968981 w 2968981"/>
                <a:gd name="connsiteY0" fmla="*/ 0 h 257442"/>
                <a:gd name="connsiteX1" fmla="*/ 2743188 w 2968981"/>
                <a:gd name="connsiteY1" fmla="*/ 257442 h 257442"/>
                <a:gd name="connsiteX2" fmla="*/ 0 w 2968981"/>
                <a:gd name="connsiteY2" fmla="*/ 257442 h 257442"/>
                <a:gd name="connsiteX3" fmla="*/ 54721 w 2968981"/>
                <a:gd name="connsiteY3" fmla="*/ 0 h 257442"/>
                <a:gd name="connsiteX0" fmla="*/ 2968981 w 2968981"/>
                <a:gd name="connsiteY0" fmla="*/ 0 h 257442"/>
                <a:gd name="connsiteX1" fmla="*/ 2914260 w 2968981"/>
                <a:gd name="connsiteY1" fmla="*/ 257442 h 257442"/>
                <a:gd name="connsiteX2" fmla="*/ 0 w 2968981"/>
                <a:gd name="connsiteY2" fmla="*/ 257442 h 257442"/>
                <a:gd name="connsiteX3" fmla="*/ 54721 w 2968981"/>
                <a:gd name="connsiteY3" fmla="*/ 0 h 257442"/>
                <a:gd name="connsiteX0" fmla="*/ 2968981 w 2968981"/>
                <a:gd name="connsiteY0" fmla="*/ 0 h 257442"/>
                <a:gd name="connsiteX1" fmla="*/ 2914260 w 2968981"/>
                <a:gd name="connsiteY1" fmla="*/ 257442 h 257442"/>
                <a:gd name="connsiteX2" fmla="*/ 0 w 2968981"/>
                <a:gd name="connsiteY2" fmla="*/ 257442 h 257442"/>
                <a:gd name="connsiteX3" fmla="*/ 54721 w 2968981"/>
                <a:gd name="connsiteY3" fmla="*/ 0 h 257442"/>
                <a:gd name="connsiteX0" fmla="*/ 2968981 w 2968981"/>
                <a:gd name="connsiteY0" fmla="*/ 0 h 257442"/>
                <a:gd name="connsiteX1" fmla="*/ 2914260 w 2968981"/>
                <a:gd name="connsiteY1" fmla="*/ 257442 h 257442"/>
                <a:gd name="connsiteX2" fmla="*/ 0 w 2968981"/>
                <a:gd name="connsiteY2" fmla="*/ 257442 h 257442"/>
                <a:gd name="connsiteX3" fmla="*/ 54721 w 2968981"/>
                <a:gd name="connsiteY3" fmla="*/ 0 h 257442"/>
                <a:gd name="connsiteX0" fmla="*/ 1710625 w 2914260"/>
                <a:gd name="connsiteY0" fmla="*/ 0 h 257442"/>
                <a:gd name="connsiteX1" fmla="*/ 2914260 w 2914260"/>
                <a:gd name="connsiteY1" fmla="*/ 257442 h 257442"/>
                <a:gd name="connsiteX2" fmla="*/ 0 w 2914260"/>
                <a:gd name="connsiteY2" fmla="*/ 257442 h 257442"/>
                <a:gd name="connsiteX3" fmla="*/ 54721 w 2914260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710624 w 1710624"/>
                <a:gd name="connsiteY0" fmla="*/ 0 h 257442"/>
                <a:gd name="connsiteX1" fmla="*/ 1655903 w 1710624"/>
                <a:gd name="connsiteY1" fmla="*/ 257442 h 257442"/>
                <a:gd name="connsiteX2" fmla="*/ 0 w 1710624"/>
                <a:gd name="connsiteY2" fmla="*/ 257442 h 257442"/>
                <a:gd name="connsiteX3" fmla="*/ 54720 w 1710624"/>
                <a:gd name="connsiteY3" fmla="*/ 0 h 257442"/>
                <a:gd name="connsiteX0" fmla="*/ 1710624 w 1710624"/>
                <a:gd name="connsiteY0" fmla="*/ 0 h 257442"/>
                <a:gd name="connsiteX1" fmla="*/ 1655903 w 1710624"/>
                <a:gd name="connsiteY1" fmla="*/ 257442 h 257442"/>
                <a:gd name="connsiteX2" fmla="*/ 0 w 1710624"/>
                <a:gd name="connsiteY2" fmla="*/ 257442 h 257442"/>
                <a:gd name="connsiteX3" fmla="*/ 54720 w 1710624"/>
                <a:gd name="connsiteY3" fmla="*/ 0 h 257442"/>
                <a:gd name="connsiteX0" fmla="*/ 1912602 w 1912602"/>
                <a:gd name="connsiteY0" fmla="*/ 0 h 257442"/>
                <a:gd name="connsiteX1" fmla="*/ 1655903 w 1912602"/>
                <a:gd name="connsiteY1" fmla="*/ 257442 h 257442"/>
                <a:gd name="connsiteX2" fmla="*/ 0 w 1912602"/>
                <a:gd name="connsiteY2" fmla="*/ 257442 h 257442"/>
                <a:gd name="connsiteX3" fmla="*/ 54720 w 1912602"/>
                <a:gd name="connsiteY3" fmla="*/ 0 h 257442"/>
                <a:gd name="connsiteX0" fmla="*/ 1912602 w 1912602"/>
                <a:gd name="connsiteY0" fmla="*/ 0 h 257442"/>
                <a:gd name="connsiteX1" fmla="*/ 1857881 w 1912602"/>
                <a:gd name="connsiteY1" fmla="*/ 257442 h 257442"/>
                <a:gd name="connsiteX2" fmla="*/ 0 w 1912602"/>
                <a:gd name="connsiteY2" fmla="*/ 257442 h 257442"/>
                <a:gd name="connsiteX3" fmla="*/ 54720 w 1912602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54721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54722 w 1912603"/>
                <a:gd name="connsiteY3" fmla="*/ 0 h 257442"/>
                <a:gd name="connsiteX0" fmla="*/ 1811614 w 1857882"/>
                <a:gd name="connsiteY0" fmla="*/ 0 h 257442"/>
                <a:gd name="connsiteX1" fmla="*/ 1857882 w 1857882"/>
                <a:gd name="connsiteY1" fmla="*/ 257442 h 257442"/>
                <a:gd name="connsiteX2" fmla="*/ 0 w 1857882"/>
                <a:gd name="connsiteY2" fmla="*/ 257442 h 257442"/>
                <a:gd name="connsiteX3" fmla="*/ 54722 w 1857882"/>
                <a:gd name="connsiteY3" fmla="*/ 0 h 257442"/>
                <a:gd name="connsiteX0" fmla="*/ 1811614 w 1811614"/>
                <a:gd name="connsiteY0" fmla="*/ 0 h 257442"/>
                <a:gd name="connsiteX1" fmla="*/ 1756893 w 1811614"/>
                <a:gd name="connsiteY1" fmla="*/ 257442 h 257442"/>
                <a:gd name="connsiteX2" fmla="*/ 0 w 1811614"/>
                <a:gd name="connsiteY2" fmla="*/ 257442 h 257442"/>
                <a:gd name="connsiteX3" fmla="*/ 54722 w 1811614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811613 w 1811613"/>
                <a:gd name="connsiteY0" fmla="*/ 0 h 257442"/>
                <a:gd name="connsiteX1" fmla="*/ 1756892 w 1811613"/>
                <a:gd name="connsiteY1" fmla="*/ 257442 h 257442"/>
                <a:gd name="connsiteX2" fmla="*/ 0 w 1811613"/>
                <a:gd name="connsiteY2" fmla="*/ 257442 h 257442"/>
                <a:gd name="connsiteX3" fmla="*/ 54721 w 1811613"/>
                <a:gd name="connsiteY3" fmla="*/ 0 h 257442"/>
                <a:gd name="connsiteX0" fmla="*/ 1710625 w 1756892"/>
                <a:gd name="connsiteY0" fmla="*/ 0 h 257442"/>
                <a:gd name="connsiteX1" fmla="*/ 1756892 w 1756892"/>
                <a:gd name="connsiteY1" fmla="*/ 257442 h 257442"/>
                <a:gd name="connsiteX2" fmla="*/ 0 w 1756892"/>
                <a:gd name="connsiteY2" fmla="*/ 257442 h 257442"/>
                <a:gd name="connsiteX3" fmla="*/ 54721 w 1756892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710624 w 1710624"/>
                <a:gd name="connsiteY0" fmla="*/ 0 h 257442"/>
                <a:gd name="connsiteX1" fmla="*/ 1655903 w 1710624"/>
                <a:gd name="connsiteY1" fmla="*/ 257442 h 257442"/>
                <a:gd name="connsiteX2" fmla="*/ 0 w 1710624"/>
                <a:gd name="connsiteY2" fmla="*/ 257442 h 257442"/>
                <a:gd name="connsiteX3" fmla="*/ 54720 w 1710624"/>
                <a:gd name="connsiteY3" fmla="*/ 0 h 257442"/>
                <a:gd name="connsiteX0" fmla="*/ 1710624 w 1710624"/>
                <a:gd name="connsiteY0" fmla="*/ 0 h 257442"/>
                <a:gd name="connsiteX1" fmla="*/ 1655903 w 1710624"/>
                <a:gd name="connsiteY1" fmla="*/ 257442 h 257442"/>
                <a:gd name="connsiteX2" fmla="*/ 0 w 1710624"/>
                <a:gd name="connsiteY2" fmla="*/ 257442 h 257442"/>
                <a:gd name="connsiteX3" fmla="*/ 54720 w 1710624"/>
                <a:gd name="connsiteY3" fmla="*/ 0 h 257442"/>
                <a:gd name="connsiteX0" fmla="*/ 1558338 w 1655903"/>
                <a:gd name="connsiteY0" fmla="*/ 0 h 257442"/>
                <a:gd name="connsiteX1" fmla="*/ 1655903 w 1655903"/>
                <a:gd name="connsiteY1" fmla="*/ 257442 h 257442"/>
                <a:gd name="connsiteX2" fmla="*/ 0 w 1655903"/>
                <a:gd name="connsiteY2" fmla="*/ 257442 h 257442"/>
                <a:gd name="connsiteX3" fmla="*/ 54720 w 1655903"/>
                <a:gd name="connsiteY3" fmla="*/ 0 h 257442"/>
                <a:gd name="connsiteX0" fmla="*/ 1558338 w 1558338"/>
                <a:gd name="connsiteY0" fmla="*/ 0 h 257442"/>
                <a:gd name="connsiteX1" fmla="*/ 1503618 w 1558338"/>
                <a:gd name="connsiteY1" fmla="*/ 257442 h 257442"/>
                <a:gd name="connsiteX2" fmla="*/ 0 w 1558338"/>
                <a:gd name="connsiteY2" fmla="*/ 257442 h 257442"/>
                <a:gd name="connsiteX3" fmla="*/ 54720 w 1558338"/>
                <a:gd name="connsiteY3" fmla="*/ 0 h 257442"/>
                <a:gd name="connsiteX0" fmla="*/ 1558338 w 1558338"/>
                <a:gd name="connsiteY0" fmla="*/ 0 h 257442"/>
                <a:gd name="connsiteX1" fmla="*/ 1503618 w 1558338"/>
                <a:gd name="connsiteY1" fmla="*/ 257442 h 257442"/>
                <a:gd name="connsiteX2" fmla="*/ 0 w 1558338"/>
                <a:gd name="connsiteY2" fmla="*/ 257442 h 257442"/>
                <a:gd name="connsiteX3" fmla="*/ 54720 w 1558338"/>
                <a:gd name="connsiteY3" fmla="*/ 0 h 257442"/>
                <a:gd name="connsiteX0" fmla="*/ 1558338 w 1558338"/>
                <a:gd name="connsiteY0" fmla="*/ 0 h 257442"/>
                <a:gd name="connsiteX1" fmla="*/ 1503618 w 1558338"/>
                <a:gd name="connsiteY1" fmla="*/ 257442 h 257442"/>
                <a:gd name="connsiteX2" fmla="*/ 0 w 1558338"/>
                <a:gd name="connsiteY2" fmla="*/ 257442 h 257442"/>
                <a:gd name="connsiteX3" fmla="*/ 54721 w 1558338"/>
                <a:gd name="connsiteY3" fmla="*/ 0 h 257442"/>
                <a:gd name="connsiteX0" fmla="*/ 1457350 w 1503618"/>
                <a:gd name="connsiteY0" fmla="*/ 0 h 257442"/>
                <a:gd name="connsiteX1" fmla="*/ 1503618 w 1503618"/>
                <a:gd name="connsiteY1" fmla="*/ 257442 h 257442"/>
                <a:gd name="connsiteX2" fmla="*/ 0 w 1503618"/>
                <a:gd name="connsiteY2" fmla="*/ 257442 h 257442"/>
                <a:gd name="connsiteX3" fmla="*/ 54721 w 1503618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305064 w 1402629"/>
                <a:gd name="connsiteY0" fmla="*/ 0 h 257442"/>
                <a:gd name="connsiteX1" fmla="*/ 1402629 w 1402629"/>
                <a:gd name="connsiteY1" fmla="*/ 257442 h 257442"/>
                <a:gd name="connsiteX2" fmla="*/ 0 w 1402629"/>
                <a:gd name="connsiteY2" fmla="*/ 257442 h 257442"/>
                <a:gd name="connsiteX3" fmla="*/ 54721 w 1402629"/>
                <a:gd name="connsiteY3" fmla="*/ 0 h 257442"/>
                <a:gd name="connsiteX0" fmla="*/ 1305064 w 1305064"/>
                <a:gd name="connsiteY0" fmla="*/ 0 h 257442"/>
                <a:gd name="connsiteX1" fmla="*/ 1250344 w 1305064"/>
                <a:gd name="connsiteY1" fmla="*/ 257442 h 257442"/>
                <a:gd name="connsiteX2" fmla="*/ 0 w 1305064"/>
                <a:gd name="connsiteY2" fmla="*/ 257442 h 257442"/>
                <a:gd name="connsiteX3" fmla="*/ 54721 w 1305064"/>
                <a:gd name="connsiteY3" fmla="*/ 0 h 257442"/>
                <a:gd name="connsiteX0" fmla="*/ 1305063 w 1305063"/>
                <a:gd name="connsiteY0" fmla="*/ 0 h 257442"/>
                <a:gd name="connsiteX1" fmla="*/ 1250343 w 1305063"/>
                <a:gd name="connsiteY1" fmla="*/ 257442 h 257442"/>
                <a:gd name="connsiteX2" fmla="*/ 0 w 1305063"/>
                <a:gd name="connsiteY2" fmla="*/ 257442 h 257442"/>
                <a:gd name="connsiteX3" fmla="*/ 54720 w 1305063"/>
                <a:gd name="connsiteY3" fmla="*/ 0 h 257442"/>
                <a:gd name="connsiteX0" fmla="*/ 1305063 w 1305063"/>
                <a:gd name="connsiteY0" fmla="*/ 0 h 257442"/>
                <a:gd name="connsiteX1" fmla="*/ 1250343 w 1305063"/>
                <a:gd name="connsiteY1" fmla="*/ 257442 h 257442"/>
                <a:gd name="connsiteX2" fmla="*/ 0 w 1305063"/>
                <a:gd name="connsiteY2" fmla="*/ 257442 h 257442"/>
                <a:gd name="connsiteX3" fmla="*/ 54721 w 1305063"/>
                <a:gd name="connsiteY3" fmla="*/ 0 h 257442"/>
                <a:gd name="connsiteX0" fmla="*/ 1144764 w 1250343"/>
                <a:gd name="connsiteY0" fmla="*/ 0 h 257442"/>
                <a:gd name="connsiteX1" fmla="*/ 1250343 w 1250343"/>
                <a:gd name="connsiteY1" fmla="*/ 257442 h 257442"/>
                <a:gd name="connsiteX2" fmla="*/ 0 w 1250343"/>
                <a:gd name="connsiteY2" fmla="*/ 257442 h 257442"/>
                <a:gd name="connsiteX3" fmla="*/ 54721 w 1250343"/>
                <a:gd name="connsiteY3" fmla="*/ 0 h 257442"/>
                <a:gd name="connsiteX0" fmla="*/ 1144764 w 1144764"/>
                <a:gd name="connsiteY0" fmla="*/ 0 h 257442"/>
                <a:gd name="connsiteX1" fmla="*/ 1090043 w 1144764"/>
                <a:gd name="connsiteY1" fmla="*/ 257442 h 257442"/>
                <a:gd name="connsiteX2" fmla="*/ 0 w 1144764"/>
                <a:gd name="connsiteY2" fmla="*/ 257442 h 257442"/>
                <a:gd name="connsiteX3" fmla="*/ 54721 w 1144764"/>
                <a:gd name="connsiteY3" fmla="*/ 0 h 257442"/>
                <a:gd name="connsiteX0" fmla="*/ 1144764 w 1144764"/>
                <a:gd name="connsiteY0" fmla="*/ 0 h 257442"/>
                <a:gd name="connsiteX1" fmla="*/ 1090043 w 1144764"/>
                <a:gd name="connsiteY1" fmla="*/ 257442 h 257442"/>
                <a:gd name="connsiteX2" fmla="*/ 0 w 1144764"/>
                <a:gd name="connsiteY2" fmla="*/ 257442 h 257442"/>
                <a:gd name="connsiteX3" fmla="*/ 54721 w 1144764"/>
                <a:gd name="connsiteY3" fmla="*/ 0 h 257442"/>
                <a:gd name="connsiteX0" fmla="*/ 1144764 w 1144764"/>
                <a:gd name="connsiteY0" fmla="*/ 0 h 257442"/>
                <a:gd name="connsiteX1" fmla="*/ 1090043 w 1144764"/>
                <a:gd name="connsiteY1" fmla="*/ 257442 h 257442"/>
                <a:gd name="connsiteX2" fmla="*/ 0 w 1144764"/>
                <a:gd name="connsiteY2" fmla="*/ 257442 h 257442"/>
                <a:gd name="connsiteX3" fmla="*/ 54721 w 1144764"/>
                <a:gd name="connsiteY3" fmla="*/ 0 h 257442"/>
                <a:gd name="connsiteX0" fmla="*/ 984464 w 1090043"/>
                <a:gd name="connsiteY0" fmla="*/ 0 h 257442"/>
                <a:gd name="connsiteX1" fmla="*/ 1090043 w 1090043"/>
                <a:gd name="connsiteY1" fmla="*/ 257442 h 257442"/>
                <a:gd name="connsiteX2" fmla="*/ 0 w 1090043"/>
                <a:gd name="connsiteY2" fmla="*/ 257442 h 257442"/>
                <a:gd name="connsiteX3" fmla="*/ 54721 w 1090043"/>
                <a:gd name="connsiteY3" fmla="*/ 0 h 257442"/>
                <a:gd name="connsiteX0" fmla="*/ 984464 w 984464"/>
                <a:gd name="connsiteY0" fmla="*/ 0 h 257442"/>
                <a:gd name="connsiteX1" fmla="*/ 929744 w 984464"/>
                <a:gd name="connsiteY1" fmla="*/ 257442 h 257442"/>
                <a:gd name="connsiteX2" fmla="*/ 0 w 984464"/>
                <a:gd name="connsiteY2" fmla="*/ 257442 h 257442"/>
                <a:gd name="connsiteX3" fmla="*/ 54721 w 984464"/>
                <a:gd name="connsiteY3" fmla="*/ 0 h 257442"/>
                <a:gd name="connsiteX0" fmla="*/ 984463 w 984463"/>
                <a:gd name="connsiteY0" fmla="*/ 0 h 257442"/>
                <a:gd name="connsiteX1" fmla="*/ 929743 w 984463"/>
                <a:gd name="connsiteY1" fmla="*/ 257442 h 257442"/>
                <a:gd name="connsiteX2" fmla="*/ 0 w 984463"/>
                <a:gd name="connsiteY2" fmla="*/ 257442 h 257442"/>
                <a:gd name="connsiteX3" fmla="*/ 54720 w 984463"/>
                <a:gd name="connsiteY3" fmla="*/ 0 h 257442"/>
                <a:gd name="connsiteX0" fmla="*/ 984463 w 984463"/>
                <a:gd name="connsiteY0" fmla="*/ 0 h 257442"/>
                <a:gd name="connsiteX1" fmla="*/ 929743 w 984463"/>
                <a:gd name="connsiteY1" fmla="*/ 257442 h 257442"/>
                <a:gd name="connsiteX2" fmla="*/ 0 w 984463"/>
                <a:gd name="connsiteY2" fmla="*/ 257442 h 257442"/>
                <a:gd name="connsiteX3" fmla="*/ 54721 w 984463"/>
                <a:gd name="connsiteY3" fmla="*/ 0 h 257442"/>
                <a:gd name="connsiteX0" fmla="*/ 883475 w 929743"/>
                <a:gd name="connsiteY0" fmla="*/ 0 h 257442"/>
                <a:gd name="connsiteX1" fmla="*/ 929743 w 929743"/>
                <a:gd name="connsiteY1" fmla="*/ 257442 h 257442"/>
                <a:gd name="connsiteX2" fmla="*/ 0 w 929743"/>
                <a:gd name="connsiteY2" fmla="*/ 257442 h 257442"/>
                <a:gd name="connsiteX3" fmla="*/ 54721 w 929743"/>
                <a:gd name="connsiteY3" fmla="*/ 0 h 257442"/>
                <a:gd name="connsiteX0" fmla="*/ 883475 w 883475"/>
                <a:gd name="connsiteY0" fmla="*/ 0 h 257442"/>
                <a:gd name="connsiteX1" fmla="*/ 828754 w 883475"/>
                <a:gd name="connsiteY1" fmla="*/ 257442 h 257442"/>
                <a:gd name="connsiteX2" fmla="*/ 0 w 883475"/>
                <a:gd name="connsiteY2" fmla="*/ 257442 h 257442"/>
                <a:gd name="connsiteX3" fmla="*/ 54721 w 883475"/>
                <a:gd name="connsiteY3" fmla="*/ 0 h 257442"/>
                <a:gd name="connsiteX0" fmla="*/ 883475 w 883475"/>
                <a:gd name="connsiteY0" fmla="*/ 0 h 257442"/>
                <a:gd name="connsiteX1" fmla="*/ 828754 w 883475"/>
                <a:gd name="connsiteY1" fmla="*/ 257442 h 257442"/>
                <a:gd name="connsiteX2" fmla="*/ 0 w 883475"/>
                <a:gd name="connsiteY2" fmla="*/ 257442 h 257442"/>
                <a:gd name="connsiteX3" fmla="*/ 54721 w 883475"/>
                <a:gd name="connsiteY3" fmla="*/ 0 h 257442"/>
                <a:gd name="connsiteX0" fmla="*/ 883475 w 883475"/>
                <a:gd name="connsiteY0" fmla="*/ 0 h 257442"/>
                <a:gd name="connsiteX1" fmla="*/ 828754 w 883475"/>
                <a:gd name="connsiteY1" fmla="*/ 257442 h 257442"/>
                <a:gd name="connsiteX2" fmla="*/ 0 w 883475"/>
                <a:gd name="connsiteY2" fmla="*/ 257442 h 257442"/>
                <a:gd name="connsiteX3" fmla="*/ 54721 w 883475"/>
                <a:gd name="connsiteY3" fmla="*/ 0 h 257442"/>
                <a:gd name="connsiteX0" fmla="*/ 782550 w 828754"/>
                <a:gd name="connsiteY0" fmla="*/ 0 h 257442"/>
                <a:gd name="connsiteX1" fmla="*/ 828754 w 828754"/>
                <a:gd name="connsiteY1" fmla="*/ 257442 h 257442"/>
                <a:gd name="connsiteX2" fmla="*/ 0 w 828754"/>
                <a:gd name="connsiteY2" fmla="*/ 257442 h 257442"/>
                <a:gd name="connsiteX3" fmla="*/ 54721 w 828754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960419 w 960419"/>
                <a:gd name="connsiteY0" fmla="*/ 0 h 257442"/>
                <a:gd name="connsiteX1" fmla="*/ 727829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54722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54722 w 1128735"/>
                <a:gd name="connsiteY3" fmla="*/ 0 h 257442"/>
                <a:gd name="connsiteX0" fmla="*/ 1306669 w 1306669"/>
                <a:gd name="connsiteY0" fmla="*/ 0 h 257442"/>
                <a:gd name="connsiteX1" fmla="*/ 1074013 w 1306669"/>
                <a:gd name="connsiteY1" fmla="*/ 257442 h 257442"/>
                <a:gd name="connsiteX2" fmla="*/ 0 w 1306669"/>
                <a:gd name="connsiteY2" fmla="*/ 257442 h 257442"/>
                <a:gd name="connsiteX3" fmla="*/ 54722 w 1306669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0 w 1306669"/>
                <a:gd name="connsiteY2" fmla="*/ 257442 h 257442"/>
                <a:gd name="connsiteX3" fmla="*/ 54722 w 1306669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0 w 1306668"/>
                <a:gd name="connsiteY3" fmla="*/ 0 h 257442"/>
                <a:gd name="connsiteX0" fmla="*/ 1575971 w 1575971"/>
                <a:gd name="connsiteY0" fmla="*/ 0 h 257442"/>
                <a:gd name="connsiteX1" fmla="*/ 1251947 w 1575971"/>
                <a:gd name="connsiteY1" fmla="*/ 257442 h 257442"/>
                <a:gd name="connsiteX2" fmla="*/ 0 w 1575971"/>
                <a:gd name="connsiteY2" fmla="*/ 257442 h 257442"/>
                <a:gd name="connsiteX3" fmla="*/ 54720 w 1575971"/>
                <a:gd name="connsiteY3" fmla="*/ 0 h 257442"/>
                <a:gd name="connsiteX0" fmla="*/ 1575971 w 1575971"/>
                <a:gd name="connsiteY0" fmla="*/ 0 h 257442"/>
                <a:gd name="connsiteX1" fmla="*/ 1521250 w 1575971"/>
                <a:gd name="connsiteY1" fmla="*/ 257442 h 257442"/>
                <a:gd name="connsiteX2" fmla="*/ 0 w 1575971"/>
                <a:gd name="connsiteY2" fmla="*/ 257442 h 257442"/>
                <a:gd name="connsiteX3" fmla="*/ 54720 w 1575971"/>
                <a:gd name="connsiteY3" fmla="*/ 0 h 257442"/>
                <a:gd name="connsiteX0" fmla="*/ 1575972 w 1575972"/>
                <a:gd name="connsiteY0" fmla="*/ 0 h 257442"/>
                <a:gd name="connsiteX1" fmla="*/ 1521251 w 1575972"/>
                <a:gd name="connsiteY1" fmla="*/ 257442 h 257442"/>
                <a:gd name="connsiteX2" fmla="*/ 0 w 1575972"/>
                <a:gd name="connsiteY2" fmla="*/ 257442 h 257442"/>
                <a:gd name="connsiteX3" fmla="*/ 54721 w 1575972"/>
                <a:gd name="connsiteY3" fmla="*/ 0 h 257442"/>
                <a:gd name="connsiteX0" fmla="*/ 1575972 w 1575972"/>
                <a:gd name="connsiteY0" fmla="*/ 0 h 257442"/>
                <a:gd name="connsiteX1" fmla="*/ 1521251 w 1575972"/>
                <a:gd name="connsiteY1" fmla="*/ 257442 h 257442"/>
                <a:gd name="connsiteX2" fmla="*/ 0 w 1575972"/>
                <a:gd name="connsiteY2" fmla="*/ 257442 h 257442"/>
                <a:gd name="connsiteX3" fmla="*/ 54721 w 1575972"/>
                <a:gd name="connsiteY3" fmla="*/ 0 h 257442"/>
                <a:gd name="connsiteX0" fmla="*/ 1744287 w 1744287"/>
                <a:gd name="connsiteY0" fmla="*/ 0 h 257442"/>
                <a:gd name="connsiteX1" fmla="*/ 1521251 w 1744287"/>
                <a:gd name="connsiteY1" fmla="*/ 257442 h 257442"/>
                <a:gd name="connsiteX2" fmla="*/ 0 w 1744287"/>
                <a:gd name="connsiteY2" fmla="*/ 257442 h 257442"/>
                <a:gd name="connsiteX3" fmla="*/ 54721 w 1744287"/>
                <a:gd name="connsiteY3" fmla="*/ 0 h 257442"/>
                <a:gd name="connsiteX0" fmla="*/ 1744287 w 1744287"/>
                <a:gd name="connsiteY0" fmla="*/ 0 h 257442"/>
                <a:gd name="connsiteX1" fmla="*/ 1689566 w 1744287"/>
                <a:gd name="connsiteY1" fmla="*/ 257442 h 257442"/>
                <a:gd name="connsiteX2" fmla="*/ 0 w 1744287"/>
                <a:gd name="connsiteY2" fmla="*/ 257442 h 257442"/>
                <a:gd name="connsiteX3" fmla="*/ 54721 w 1744287"/>
                <a:gd name="connsiteY3" fmla="*/ 0 h 257442"/>
                <a:gd name="connsiteX0" fmla="*/ 1744287 w 1744287"/>
                <a:gd name="connsiteY0" fmla="*/ 0 h 257442"/>
                <a:gd name="connsiteX1" fmla="*/ 1689566 w 1744287"/>
                <a:gd name="connsiteY1" fmla="*/ 257442 h 257442"/>
                <a:gd name="connsiteX2" fmla="*/ 0 w 1744287"/>
                <a:gd name="connsiteY2" fmla="*/ 257442 h 257442"/>
                <a:gd name="connsiteX3" fmla="*/ 54721 w 1744287"/>
                <a:gd name="connsiteY3" fmla="*/ 0 h 257442"/>
                <a:gd name="connsiteX0" fmla="*/ 1744287 w 1744287"/>
                <a:gd name="connsiteY0" fmla="*/ 0 h 257442"/>
                <a:gd name="connsiteX1" fmla="*/ 1689566 w 1744287"/>
                <a:gd name="connsiteY1" fmla="*/ 257442 h 257442"/>
                <a:gd name="connsiteX2" fmla="*/ 0 w 1744287"/>
                <a:gd name="connsiteY2" fmla="*/ 257442 h 257442"/>
                <a:gd name="connsiteX3" fmla="*/ 54721 w 1744287"/>
                <a:gd name="connsiteY3" fmla="*/ 0 h 257442"/>
                <a:gd name="connsiteX0" fmla="*/ 1912603 w 1912603"/>
                <a:gd name="connsiteY0" fmla="*/ 0 h 257442"/>
                <a:gd name="connsiteX1" fmla="*/ 1689566 w 1912603"/>
                <a:gd name="connsiteY1" fmla="*/ 257442 h 257442"/>
                <a:gd name="connsiteX2" fmla="*/ 0 w 1912603"/>
                <a:gd name="connsiteY2" fmla="*/ 257442 h 257442"/>
                <a:gd name="connsiteX3" fmla="*/ 54721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54721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54721 w 1912603"/>
                <a:gd name="connsiteY3" fmla="*/ 0 h 257442"/>
                <a:gd name="connsiteX0" fmla="*/ 1912603 w 1912603"/>
                <a:gd name="connsiteY0" fmla="*/ 0 h 257442"/>
                <a:gd name="connsiteX1" fmla="*/ 1857882 w 1912603"/>
                <a:gd name="connsiteY1" fmla="*/ 257442 h 257442"/>
                <a:gd name="connsiteX2" fmla="*/ 0 w 1912603"/>
                <a:gd name="connsiteY2" fmla="*/ 257442 h 257442"/>
                <a:gd name="connsiteX3" fmla="*/ 54721 w 1912603"/>
                <a:gd name="connsiteY3" fmla="*/ 0 h 257442"/>
                <a:gd name="connsiteX0" fmla="*/ 2080918 w 2080918"/>
                <a:gd name="connsiteY0" fmla="*/ 0 h 257442"/>
                <a:gd name="connsiteX1" fmla="*/ 1857882 w 2080918"/>
                <a:gd name="connsiteY1" fmla="*/ 257442 h 257442"/>
                <a:gd name="connsiteX2" fmla="*/ 0 w 2080918"/>
                <a:gd name="connsiteY2" fmla="*/ 257442 h 257442"/>
                <a:gd name="connsiteX3" fmla="*/ 54721 w 2080918"/>
                <a:gd name="connsiteY3" fmla="*/ 0 h 257442"/>
                <a:gd name="connsiteX0" fmla="*/ 2080918 w 2080918"/>
                <a:gd name="connsiteY0" fmla="*/ 0 h 257442"/>
                <a:gd name="connsiteX1" fmla="*/ 2026196 w 2080918"/>
                <a:gd name="connsiteY1" fmla="*/ 257442 h 257442"/>
                <a:gd name="connsiteX2" fmla="*/ 0 w 2080918"/>
                <a:gd name="connsiteY2" fmla="*/ 257442 h 257442"/>
                <a:gd name="connsiteX3" fmla="*/ 54721 w 2080918"/>
                <a:gd name="connsiteY3" fmla="*/ 0 h 257442"/>
                <a:gd name="connsiteX0" fmla="*/ 2080919 w 2080919"/>
                <a:gd name="connsiteY0" fmla="*/ 0 h 257442"/>
                <a:gd name="connsiteX1" fmla="*/ 2026197 w 2080919"/>
                <a:gd name="connsiteY1" fmla="*/ 257442 h 257442"/>
                <a:gd name="connsiteX2" fmla="*/ 0 w 2080919"/>
                <a:gd name="connsiteY2" fmla="*/ 257442 h 257442"/>
                <a:gd name="connsiteX3" fmla="*/ 54722 w 2080919"/>
                <a:gd name="connsiteY3" fmla="*/ 0 h 257442"/>
                <a:gd name="connsiteX0" fmla="*/ 2080919 w 2080919"/>
                <a:gd name="connsiteY0" fmla="*/ 0 h 257442"/>
                <a:gd name="connsiteX1" fmla="*/ 2026197 w 2080919"/>
                <a:gd name="connsiteY1" fmla="*/ 257442 h 257442"/>
                <a:gd name="connsiteX2" fmla="*/ 0 w 2080919"/>
                <a:gd name="connsiteY2" fmla="*/ 257442 h 257442"/>
                <a:gd name="connsiteX3" fmla="*/ 54722 w 2080919"/>
                <a:gd name="connsiteY3" fmla="*/ 0 h 257442"/>
                <a:gd name="connsiteX0" fmla="*/ 2395813 w 2395813"/>
                <a:gd name="connsiteY0" fmla="*/ 0 h 257442"/>
                <a:gd name="connsiteX1" fmla="*/ 2026197 w 2395813"/>
                <a:gd name="connsiteY1" fmla="*/ 257442 h 257442"/>
                <a:gd name="connsiteX2" fmla="*/ 0 w 2395813"/>
                <a:gd name="connsiteY2" fmla="*/ 257442 h 257442"/>
                <a:gd name="connsiteX3" fmla="*/ 54722 w 2395813"/>
                <a:gd name="connsiteY3" fmla="*/ 0 h 257442"/>
                <a:gd name="connsiteX0" fmla="*/ 2395813 w 2395813"/>
                <a:gd name="connsiteY0" fmla="*/ 0 h 257442"/>
                <a:gd name="connsiteX1" fmla="*/ 2341092 w 2395813"/>
                <a:gd name="connsiteY1" fmla="*/ 257442 h 257442"/>
                <a:gd name="connsiteX2" fmla="*/ 0 w 2395813"/>
                <a:gd name="connsiteY2" fmla="*/ 257442 h 257442"/>
                <a:gd name="connsiteX3" fmla="*/ 54722 w 2395813"/>
                <a:gd name="connsiteY3" fmla="*/ 0 h 257442"/>
                <a:gd name="connsiteX0" fmla="*/ 2395812 w 2395812"/>
                <a:gd name="connsiteY0" fmla="*/ 0 h 257442"/>
                <a:gd name="connsiteX1" fmla="*/ 2341091 w 2395812"/>
                <a:gd name="connsiteY1" fmla="*/ 257442 h 257442"/>
                <a:gd name="connsiteX2" fmla="*/ 0 w 2395812"/>
                <a:gd name="connsiteY2" fmla="*/ 257442 h 257442"/>
                <a:gd name="connsiteX3" fmla="*/ 54721 w 2395812"/>
                <a:gd name="connsiteY3" fmla="*/ 0 h 257442"/>
                <a:gd name="connsiteX0" fmla="*/ 2395812 w 2395812"/>
                <a:gd name="connsiteY0" fmla="*/ 0 h 257442"/>
                <a:gd name="connsiteX1" fmla="*/ 2341091 w 2395812"/>
                <a:gd name="connsiteY1" fmla="*/ 257442 h 257442"/>
                <a:gd name="connsiteX2" fmla="*/ 0 w 2395812"/>
                <a:gd name="connsiteY2" fmla="*/ 257442 h 257442"/>
                <a:gd name="connsiteX3" fmla="*/ 54720 w 2395812"/>
                <a:gd name="connsiteY3" fmla="*/ 0 h 257442"/>
                <a:gd name="connsiteX0" fmla="*/ 2569833 w 2569833"/>
                <a:gd name="connsiteY0" fmla="*/ 0 h 257442"/>
                <a:gd name="connsiteX1" fmla="*/ 2341091 w 2569833"/>
                <a:gd name="connsiteY1" fmla="*/ 257442 h 257442"/>
                <a:gd name="connsiteX2" fmla="*/ 0 w 2569833"/>
                <a:gd name="connsiteY2" fmla="*/ 257442 h 257442"/>
                <a:gd name="connsiteX3" fmla="*/ 54720 w 2569833"/>
                <a:gd name="connsiteY3" fmla="*/ 0 h 257442"/>
                <a:gd name="connsiteX0" fmla="*/ 2569833 w 2569833"/>
                <a:gd name="connsiteY0" fmla="*/ 0 h 257442"/>
                <a:gd name="connsiteX1" fmla="*/ 2515112 w 2569833"/>
                <a:gd name="connsiteY1" fmla="*/ 257442 h 257442"/>
                <a:gd name="connsiteX2" fmla="*/ 0 w 2569833"/>
                <a:gd name="connsiteY2" fmla="*/ 257442 h 257442"/>
                <a:gd name="connsiteX3" fmla="*/ 54720 w 2569833"/>
                <a:gd name="connsiteY3" fmla="*/ 0 h 257442"/>
                <a:gd name="connsiteX0" fmla="*/ 2569834 w 2569834"/>
                <a:gd name="connsiteY0" fmla="*/ 0 h 257442"/>
                <a:gd name="connsiteX1" fmla="*/ 2515113 w 2569834"/>
                <a:gd name="connsiteY1" fmla="*/ 257442 h 257442"/>
                <a:gd name="connsiteX2" fmla="*/ 0 w 2569834"/>
                <a:gd name="connsiteY2" fmla="*/ 257442 h 257442"/>
                <a:gd name="connsiteX3" fmla="*/ 54721 w 2569834"/>
                <a:gd name="connsiteY3" fmla="*/ 0 h 257442"/>
                <a:gd name="connsiteX0" fmla="*/ 2569834 w 2569834"/>
                <a:gd name="connsiteY0" fmla="*/ 0 h 257442"/>
                <a:gd name="connsiteX1" fmla="*/ 2515113 w 2569834"/>
                <a:gd name="connsiteY1" fmla="*/ 257442 h 257442"/>
                <a:gd name="connsiteX2" fmla="*/ 0 w 2569834"/>
                <a:gd name="connsiteY2" fmla="*/ 257442 h 257442"/>
                <a:gd name="connsiteX3" fmla="*/ 54721 w 2569834"/>
                <a:gd name="connsiteY3" fmla="*/ 0 h 257442"/>
                <a:gd name="connsiteX0" fmla="*/ 2831123 w 2831123"/>
                <a:gd name="connsiteY0" fmla="*/ 0 h 257442"/>
                <a:gd name="connsiteX1" fmla="*/ 2515113 w 2831123"/>
                <a:gd name="connsiteY1" fmla="*/ 257442 h 257442"/>
                <a:gd name="connsiteX2" fmla="*/ 0 w 2831123"/>
                <a:gd name="connsiteY2" fmla="*/ 257442 h 257442"/>
                <a:gd name="connsiteX3" fmla="*/ 54721 w 2831123"/>
                <a:gd name="connsiteY3" fmla="*/ 0 h 257442"/>
                <a:gd name="connsiteX0" fmla="*/ 2831123 w 2831123"/>
                <a:gd name="connsiteY0" fmla="*/ 0 h 257442"/>
                <a:gd name="connsiteX1" fmla="*/ 2776402 w 2831123"/>
                <a:gd name="connsiteY1" fmla="*/ 257442 h 257442"/>
                <a:gd name="connsiteX2" fmla="*/ 0 w 2831123"/>
                <a:gd name="connsiteY2" fmla="*/ 257442 h 257442"/>
                <a:gd name="connsiteX3" fmla="*/ 54721 w 2831123"/>
                <a:gd name="connsiteY3" fmla="*/ 0 h 257442"/>
                <a:gd name="connsiteX0" fmla="*/ 2831123 w 2831123"/>
                <a:gd name="connsiteY0" fmla="*/ 0 h 257442"/>
                <a:gd name="connsiteX1" fmla="*/ 2776402 w 2831123"/>
                <a:gd name="connsiteY1" fmla="*/ 257442 h 257442"/>
                <a:gd name="connsiteX2" fmla="*/ 0 w 2831123"/>
                <a:gd name="connsiteY2" fmla="*/ 257442 h 257442"/>
                <a:gd name="connsiteX3" fmla="*/ 54721 w 2831123"/>
                <a:gd name="connsiteY3" fmla="*/ 0 h 257442"/>
                <a:gd name="connsiteX0" fmla="*/ 2831123 w 2831123"/>
                <a:gd name="connsiteY0" fmla="*/ 0 h 257442"/>
                <a:gd name="connsiteX1" fmla="*/ 2776402 w 2831123"/>
                <a:gd name="connsiteY1" fmla="*/ 257442 h 257442"/>
                <a:gd name="connsiteX2" fmla="*/ 0 w 2831123"/>
                <a:gd name="connsiteY2" fmla="*/ 257442 h 257442"/>
                <a:gd name="connsiteX3" fmla="*/ 54721 w 2831123"/>
                <a:gd name="connsiteY3" fmla="*/ 0 h 257442"/>
                <a:gd name="connsiteX0" fmla="*/ 2993732 w 2993732"/>
                <a:gd name="connsiteY0" fmla="*/ 0 h 257442"/>
                <a:gd name="connsiteX1" fmla="*/ 2776402 w 2993732"/>
                <a:gd name="connsiteY1" fmla="*/ 257442 h 257442"/>
                <a:gd name="connsiteX2" fmla="*/ 0 w 2993732"/>
                <a:gd name="connsiteY2" fmla="*/ 257442 h 257442"/>
                <a:gd name="connsiteX3" fmla="*/ 54721 w 2993732"/>
                <a:gd name="connsiteY3" fmla="*/ 0 h 257442"/>
                <a:gd name="connsiteX0" fmla="*/ 2993732 w 2993732"/>
                <a:gd name="connsiteY0" fmla="*/ 0 h 257442"/>
                <a:gd name="connsiteX1" fmla="*/ 2939010 w 2993732"/>
                <a:gd name="connsiteY1" fmla="*/ 257442 h 257442"/>
                <a:gd name="connsiteX2" fmla="*/ 0 w 2993732"/>
                <a:gd name="connsiteY2" fmla="*/ 257442 h 257442"/>
                <a:gd name="connsiteX3" fmla="*/ 54721 w 2993732"/>
                <a:gd name="connsiteY3" fmla="*/ 0 h 257442"/>
                <a:gd name="connsiteX0" fmla="*/ 2993733 w 2993733"/>
                <a:gd name="connsiteY0" fmla="*/ 0 h 257442"/>
                <a:gd name="connsiteX1" fmla="*/ 2939011 w 2993733"/>
                <a:gd name="connsiteY1" fmla="*/ 257442 h 257442"/>
                <a:gd name="connsiteX2" fmla="*/ 0 w 2993733"/>
                <a:gd name="connsiteY2" fmla="*/ 257442 h 257442"/>
                <a:gd name="connsiteX3" fmla="*/ 54722 w 2993733"/>
                <a:gd name="connsiteY3" fmla="*/ 0 h 257442"/>
                <a:gd name="connsiteX0" fmla="*/ 2993733 w 2993733"/>
                <a:gd name="connsiteY0" fmla="*/ 0 h 257442"/>
                <a:gd name="connsiteX1" fmla="*/ 2939011 w 2993733"/>
                <a:gd name="connsiteY1" fmla="*/ 257442 h 257442"/>
                <a:gd name="connsiteX2" fmla="*/ 0 w 2993733"/>
                <a:gd name="connsiteY2" fmla="*/ 257442 h 257442"/>
                <a:gd name="connsiteX3" fmla="*/ 54722 w 2993733"/>
                <a:gd name="connsiteY3" fmla="*/ 0 h 257442"/>
                <a:gd name="connsiteX0" fmla="*/ 3241301 w 3241301"/>
                <a:gd name="connsiteY0" fmla="*/ 0 h 257442"/>
                <a:gd name="connsiteX1" fmla="*/ 2939011 w 3241301"/>
                <a:gd name="connsiteY1" fmla="*/ 257442 h 257442"/>
                <a:gd name="connsiteX2" fmla="*/ 0 w 3241301"/>
                <a:gd name="connsiteY2" fmla="*/ 257442 h 257442"/>
                <a:gd name="connsiteX3" fmla="*/ 54722 w 3241301"/>
                <a:gd name="connsiteY3" fmla="*/ 0 h 257442"/>
                <a:gd name="connsiteX0" fmla="*/ 3241301 w 3241301"/>
                <a:gd name="connsiteY0" fmla="*/ 0 h 257442"/>
                <a:gd name="connsiteX1" fmla="*/ 3186580 w 3241301"/>
                <a:gd name="connsiteY1" fmla="*/ 257442 h 257442"/>
                <a:gd name="connsiteX2" fmla="*/ 0 w 3241301"/>
                <a:gd name="connsiteY2" fmla="*/ 257442 h 257442"/>
                <a:gd name="connsiteX3" fmla="*/ 54722 w 3241301"/>
                <a:gd name="connsiteY3" fmla="*/ 0 h 257442"/>
                <a:gd name="connsiteX0" fmla="*/ 3241300 w 3241300"/>
                <a:gd name="connsiteY0" fmla="*/ 0 h 257442"/>
                <a:gd name="connsiteX1" fmla="*/ 3186579 w 3241300"/>
                <a:gd name="connsiteY1" fmla="*/ 257442 h 257442"/>
                <a:gd name="connsiteX2" fmla="*/ 0 w 3241300"/>
                <a:gd name="connsiteY2" fmla="*/ 257442 h 257442"/>
                <a:gd name="connsiteX3" fmla="*/ 54721 w 3241300"/>
                <a:gd name="connsiteY3" fmla="*/ 0 h 257442"/>
                <a:gd name="connsiteX0" fmla="*/ 3241300 w 3241300"/>
                <a:gd name="connsiteY0" fmla="*/ 0 h 257442"/>
                <a:gd name="connsiteX1" fmla="*/ 3186579 w 3241300"/>
                <a:gd name="connsiteY1" fmla="*/ 257442 h 257442"/>
                <a:gd name="connsiteX2" fmla="*/ 0 w 3241300"/>
                <a:gd name="connsiteY2" fmla="*/ 257442 h 257442"/>
                <a:gd name="connsiteX3" fmla="*/ 54720 w 3241300"/>
                <a:gd name="connsiteY3" fmla="*/ 0 h 257442"/>
                <a:gd name="connsiteX0" fmla="*/ 3419232 w 3419232"/>
                <a:gd name="connsiteY0" fmla="*/ 0 h 257442"/>
                <a:gd name="connsiteX1" fmla="*/ 3186579 w 3419232"/>
                <a:gd name="connsiteY1" fmla="*/ 257442 h 257442"/>
                <a:gd name="connsiteX2" fmla="*/ 0 w 3419232"/>
                <a:gd name="connsiteY2" fmla="*/ 257442 h 257442"/>
                <a:gd name="connsiteX3" fmla="*/ 54720 w 3419232"/>
                <a:gd name="connsiteY3" fmla="*/ 0 h 257442"/>
                <a:gd name="connsiteX0" fmla="*/ 3419232 w 3419232"/>
                <a:gd name="connsiteY0" fmla="*/ 0 h 257442"/>
                <a:gd name="connsiteX1" fmla="*/ 3364511 w 3419232"/>
                <a:gd name="connsiteY1" fmla="*/ 257442 h 257442"/>
                <a:gd name="connsiteX2" fmla="*/ 0 w 3419232"/>
                <a:gd name="connsiteY2" fmla="*/ 257442 h 257442"/>
                <a:gd name="connsiteX3" fmla="*/ 54720 w 3419232"/>
                <a:gd name="connsiteY3" fmla="*/ 0 h 257442"/>
                <a:gd name="connsiteX0" fmla="*/ 3419233 w 3419233"/>
                <a:gd name="connsiteY0" fmla="*/ 0 h 257442"/>
                <a:gd name="connsiteX1" fmla="*/ 3364512 w 3419233"/>
                <a:gd name="connsiteY1" fmla="*/ 257442 h 257442"/>
                <a:gd name="connsiteX2" fmla="*/ 0 w 3419233"/>
                <a:gd name="connsiteY2" fmla="*/ 257442 h 257442"/>
                <a:gd name="connsiteX3" fmla="*/ 54721 w 3419233"/>
                <a:gd name="connsiteY3" fmla="*/ 0 h 257442"/>
                <a:gd name="connsiteX0" fmla="*/ 3419233 w 3419233"/>
                <a:gd name="connsiteY0" fmla="*/ 0 h 257442"/>
                <a:gd name="connsiteX1" fmla="*/ 3364512 w 3419233"/>
                <a:gd name="connsiteY1" fmla="*/ 257442 h 257442"/>
                <a:gd name="connsiteX2" fmla="*/ 0 w 3419233"/>
                <a:gd name="connsiteY2" fmla="*/ 257442 h 257442"/>
                <a:gd name="connsiteX3" fmla="*/ 54722 w 3419233"/>
                <a:gd name="connsiteY3" fmla="*/ 0 h 257442"/>
                <a:gd name="connsiteX0" fmla="*/ 3587550 w 3587550"/>
                <a:gd name="connsiteY0" fmla="*/ 0 h 257442"/>
                <a:gd name="connsiteX1" fmla="*/ 3364512 w 3587550"/>
                <a:gd name="connsiteY1" fmla="*/ 257442 h 257442"/>
                <a:gd name="connsiteX2" fmla="*/ 0 w 3587550"/>
                <a:gd name="connsiteY2" fmla="*/ 257442 h 257442"/>
                <a:gd name="connsiteX3" fmla="*/ 54722 w 3587550"/>
                <a:gd name="connsiteY3" fmla="*/ 0 h 257442"/>
                <a:gd name="connsiteX0" fmla="*/ 3587550 w 3587550"/>
                <a:gd name="connsiteY0" fmla="*/ 0 h 257442"/>
                <a:gd name="connsiteX1" fmla="*/ 3532828 w 3587550"/>
                <a:gd name="connsiteY1" fmla="*/ 257442 h 257442"/>
                <a:gd name="connsiteX2" fmla="*/ 0 w 3587550"/>
                <a:gd name="connsiteY2" fmla="*/ 257442 h 257442"/>
                <a:gd name="connsiteX3" fmla="*/ 54722 w 3587550"/>
                <a:gd name="connsiteY3" fmla="*/ 0 h 257442"/>
                <a:gd name="connsiteX0" fmla="*/ 3587550 w 3587550"/>
                <a:gd name="connsiteY0" fmla="*/ 0 h 257442"/>
                <a:gd name="connsiteX1" fmla="*/ 3532828 w 3587550"/>
                <a:gd name="connsiteY1" fmla="*/ 257442 h 257442"/>
                <a:gd name="connsiteX2" fmla="*/ 0 w 3587550"/>
                <a:gd name="connsiteY2" fmla="*/ 257442 h 257442"/>
                <a:gd name="connsiteX3" fmla="*/ 54722 w 3587550"/>
                <a:gd name="connsiteY3" fmla="*/ 0 h 257442"/>
                <a:gd name="connsiteX0" fmla="*/ 3587550 w 3587550"/>
                <a:gd name="connsiteY0" fmla="*/ 0 h 257442"/>
                <a:gd name="connsiteX1" fmla="*/ 3532828 w 3587550"/>
                <a:gd name="connsiteY1" fmla="*/ 257442 h 257442"/>
                <a:gd name="connsiteX2" fmla="*/ 0 w 3587550"/>
                <a:gd name="connsiteY2" fmla="*/ 257442 h 257442"/>
                <a:gd name="connsiteX3" fmla="*/ 54721 w 3587550"/>
                <a:gd name="connsiteY3" fmla="*/ 0 h 257442"/>
                <a:gd name="connsiteX0" fmla="*/ 3427248 w 3532828"/>
                <a:gd name="connsiteY0" fmla="*/ 0 h 257442"/>
                <a:gd name="connsiteX1" fmla="*/ 3532828 w 3532828"/>
                <a:gd name="connsiteY1" fmla="*/ 257442 h 257442"/>
                <a:gd name="connsiteX2" fmla="*/ 0 w 3532828"/>
                <a:gd name="connsiteY2" fmla="*/ 257442 h 257442"/>
                <a:gd name="connsiteX3" fmla="*/ 54721 w 3532828"/>
                <a:gd name="connsiteY3" fmla="*/ 0 h 257442"/>
                <a:gd name="connsiteX0" fmla="*/ 3427248 w 3427248"/>
                <a:gd name="connsiteY0" fmla="*/ 0 h 257442"/>
                <a:gd name="connsiteX1" fmla="*/ 3372527 w 3427248"/>
                <a:gd name="connsiteY1" fmla="*/ 257442 h 257442"/>
                <a:gd name="connsiteX2" fmla="*/ 0 w 3427248"/>
                <a:gd name="connsiteY2" fmla="*/ 257442 h 257442"/>
                <a:gd name="connsiteX3" fmla="*/ 54721 w 3427248"/>
                <a:gd name="connsiteY3" fmla="*/ 0 h 257442"/>
                <a:gd name="connsiteX0" fmla="*/ 3427248 w 3427248"/>
                <a:gd name="connsiteY0" fmla="*/ 0 h 257442"/>
                <a:gd name="connsiteX1" fmla="*/ 3372527 w 3427248"/>
                <a:gd name="connsiteY1" fmla="*/ 257442 h 257442"/>
                <a:gd name="connsiteX2" fmla="*/ 0 w 3427248"/>
                <a:gd name="connsiteY2" fmla="*/ 257442 h 257442"/>
                <a:gd name="connsiteX3" fmla="*/ 54721 w 3427248"/>
                <a:gd name="connsiteY3" fmla="*/ 0 h 257442"/>
                <a:gd name="connsiteX0" fmla="*/ 3427248 w 3427248"/>
                <a:gd name="connsiteY0" fmla="*/ 0 h 257442"/>
                <a:gd name="connsiteX1" fmla="*/ 3372527 w 3427248"/>
                <a:gd name="connsiteY1" fmla="*/ 257442 h 257442"/>
                <a:gd name="connsiteX2" fmla="*/ 0 w 3427248"/>
                <a:gd name="connsiteY2" fmla="*/ 257442 h 257442"/>
                <a:gd name="connsiteX3" fmla="*/ 54721 w 342724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7248" h="257442">
                  <a:moveTo>
                    <a:pt x="3427248" y="0"/>
                  </a:moveTo>
                  <a:lnTo>
                    <a:pt x="3372527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54" name="btfpRunningAgenda2LevelTextRight116644">
              <a:extLst>
                <a:ext uri="{FF2B5EF4-FFF2-40B4-BE49-F238E27FC236}">
                  <a16:creationId xmlns:a16="http://schemas.microsoft.com/office/drawing/2014/main" id="{0C5A2E85-57E9-1342-ABE7-5A1816E6D868}"/>
                </a:ext>
              </a:extLst>
            </p:cNvPr>
            <p:cNvSpPr txBox="1"/>
            <p:nvPr/>
          </p:nvSpPr>
          <p:spPr bwMode="gray">
            <a:xfrm>
              <a:off x="3777410" y="876300"/>
              <a:ext cx="352481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FFFFFF"/>
                  </a:solidFill>
                </a:rPr>
                <a:t>Organization CHART</a:t>
              </a:r>
            </a:p>
          </p:txBody>
        </p:sp>
      </p:grpSp>
      <p:grpSp>
        <p:nvGrpSpPr>
          <p:cNvPr id="55" name="btfpStatusSticker469355">
            <a:extLst>
              <a:ext uri="{FF2B5EF4-FFF2-40B4-BE49-F238E27FC236}">
                <a16:creationId xmlns:a16="http://schemas.microsoft.com/office/drawing/2014/main" id="{E554DE73-F454-3CB2-0648-C5CEEE756E1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56" name="btfpStatusStickerText469355">
              <a:extLst>
                <a:ext uri="{FF2B5EF4-FFF2-40B4-BE49-F238E27FC236}">
                  <a16:creationId xmlns:a16="http://schemas.microsoft.com/office/drawing/2014/main" id="{C2819711-26DA-0312-5189-74B41165B82C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000000"/>
                  </a:solidFill>
                </a:rPr>
                <a:t>Preliminary</a:t>
              </a:r>
            </a:p>
          </p:txBody>
        </p:sp>
        <p:cxnSp>
          <p:nvCxnSpPr>
            <p:cNvPr id="57" name="btfpStatusStickerLine469355">
              <a:extLst>
                <a:ext uri="{FF2B5EF4-FFF2-40B4-BE49-F238E27FC236}">
                  <a16:creationId xmlns:a16="http://schemas.microsoft.com/office/drawing/2014/main" id="{F4EF754D-A73A-F0D5-41AB-6217D71BCA80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2421D19-E6A4-D6B7-25D9-9242D6223DD4}"/>
              </a:ext>
            </a:extLst>
          </p:cNvPr>
          <p:cNvSpPr/>
          <p:nvPr/>
        </p:nvSpPr>
        <p:spPr>
          <a:xfrm>
            <a:off x="612573" y="3814506"/>
            <a:ext cx="993604" cy="365760"/>
          </a:xfrm>
          <a:prstGeom prst="rect">
            <a:avLst/>
          </a:prstGeom>
          <a:solidFill>
            <a:srgbClr val="D6D6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rgbClr val="000000"/>
                </a:solidFill>
              </a:rPr>
              <a:t>Market R&amp;D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EE3DB6A-FFD7-6846-4421-219506D3ED67}"/>
              </a:ext>
            </a:extLst>
          </p:cNvPr>
          <p:cNvSpPr/>
          <p:nvPr/>
        </p:nvSpPr>
        <p:spPr>
          <a:xfrm>
            <a:off x="612574" y="4353765"/>
            <a:ext cx="993604" cy="365760"/>
          </a:xfrm>
          <a:prstGeom prst="rect">
            <a:avLst/>
          </a:prstGeom>
          <a:solidFill>
            <a:srgbClr val="D6D6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 dirty="0">
                <a:solidFill>
                  <a:srgbClr val="000000"/>
                </a:solidFill>
              </a:rPr>
              <a:t>Target Solutions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4AA53D4-136E-B505-97FA-6D4BD7F09E59}"/>
              </a:ext>
            </a:extLst>
          </p:cNvPr>
          <p:cNvSpPr/>
          <p:nvPr/>
        </p:nvSpPr>
        <p:spPr>
          <a:xfrm>
            <a:off x="612573" y="4909524"/>
            <a:ext cx="993604" cy="365760"/>
          </a:xfrm>
          <a:prstGeom prst="rect">
            <a:avLst/>
          </a:prstGeom>
          <a:solidFill>
            <a:srgbClr val="D6D6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rgbClr val="000000"/>
                </a:solidFill>
              </a:rPr>
              <a:t>Product Operation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CE3D8BD-2EAF-7B6C-CE36-869EC8252342}"/>
              </a:ext>
            </a:extLst>
          </p:cNvPr>
          <p:cNvSpPr/>
          <p:nvPr/>
        </p:nvSpPr>
        <p:spPr>
          <a:xfrm>
            <a:off x="612573" y="5478999"/>
            <a:ext cx="993604" cy="365760"/>
          </a:xfrm>
          <a:prstGeom prst="rect">
            <a:avLst/>
          </a:prstGeom>
          <a:solidFill>
            <a:srgbClr val="D6D6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rgbClr val="000000"/>
                </a:solidFill>
              </a:rPr>
              <a:t>Customer Excellence</a:t>
            </a:r>
          </a:p>
        </p:txBody>
      </p: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1D730AEC-9675-85BF-C578-18200239F55F}"/>
              </a:ext>
            </a:extLst>
          </p:cNvPr>
          <p:cNvCxnSpPr>
            <a:cxnSpLocks/>
            <a:endCxn id="58" idx="1"/>
          </p:cNvCxnSpPr>
          <p:nvPr/>
        </p:nvCxnSpPr>
        <p:spPr bwMode="gray">
          <a:xfrm rot="16200000" flipH="1">
            <a:off x="254553" y="3639366"/>
            <a:ext cx="540194" cy="175846"/>
          </a:xfrm>
          <a:prstGeom prst="bentConnector2">
            <a:avLst/>
          </a:prstGeom>
          <a:ln w="9525" cap="flat">
            <a:solidFill>
              <a:schemeClr val="bg1">
                <a:lumMod val="8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2D03F5A7-1533-54B2-E0D1-E2FF725A48ED}"/>
              </a:ext>
            </a:extLst>
          </p:cNvPr>
          <p:cNvCxnSpPr>
            <a:cxnSpLocks/>
            <a:endCxn id="59" idx="1"/>
          </p:cNvCxnSpPr>
          <p:nvPr/>
        </p:nvCxnSpPr>
        <p:spPr bwMode="gray">
          <a:xfrm rot="16200000" flipH="1">
            <a:off x="-20939" y="3903132"/>
            <a:ext cx="1091178" cy="175848"/>
          </a:xfrm>
          <a:prstGeom prst="bentConnector2">
            <a:avLst/>
          </a:prstGeom>
          <a:ln w="9525" cap="flat">
            <a:solidFill>
              <a:schemeClr val="bg1">
                <a:lumMod val="8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664919E9-6A5A-AF3E-EF15-2423F4F059C4}"/>
              </a:ext>
            </a:extLst>
          </p:cNvPr>
          <p:cNvCxnSpPr>
            <a:cxnSpLocks/>
            <a:endCxn id="60" idx="1"/>
          </p:cNvCxnSpPr>
          <p:nvPr/>
        </p:nvCxnSpPr>
        <p:spPr bwMode="gray">
          <a:xfrm rot="16200000" flipH="1">
            <a:off x="-292957" y="4186874"/>
            <a:ext cx="1635212" cy="175848"/>
          </a:xfrm>
          <a:prstGeom prst="bentConnector2">
            <a:avLst/>
          </a:prstGeom>
          <a:ln w="9525" cap="flat">
            <a:solidFill>
              <a:schemeClr val="bg1">
                <a:lumMod val="8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3C21930F-446A-63B1-378C-C8A1233F4E06}"/>
              </a:ext>
            </a:extLst>
          </p:cNvPr>
          <p:cNvCxnSpPr>
            <a:cxnSpLocks/>
            <a:endCxn id="61" idx="1"/>
          </p:cNvCxnSpPr>
          <p:nvPr/>
        </p:nvCxnSpPr>
        <p:spPr bwMode="gray">
          <a:xfrm rot="16200000" flipH="1">
            <a:off x="-577696" y="4471610"/>
            <a:ext cx="2204690" cy="175848"/>
          </a:xfrm>
          <a:prstGeom prst="bentConnector2">
            <a:avLst/>
          </a:prstGeom>
          <a:ln w="9525" cap="flat">
            <a:solidFill>
              <a:schemeClr val="bg1">
                <a:lumMod val="8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tangle 69">
            <a:extLst>
              <a:ext uri="{FF2B5EF4-FFF2-40B4-BE49-F238E27FC236}">
                <a16:creationId xmlns:a16="http://schemas.microsoft.com/office/drawing/2014/main" id="{57CA7929-CD06-9A00-1045-3CE2AF3DFED2}"/>
              </a:ext>
            </a:extLst>
          </p:cNvPr>
          <p:cNvSpPr/>
          <p:nvPr/>
        </p:nvSpPr>
        <p:spPr>
          <a:xfrm>
            <a:off x="1827119" y="3814507"/>
            <a:ext cx="993604" cy="365760"/>
          </a:xfrm>
          <a:prstGeom prst="rect">
            <a:avLst/>
          </a:prstGeom>
          <a:solidFill>
            <a:srgbClr val="D6D6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rgbClr val="000000"/>
                </a:solidFill>
              </a:rPr>
              <a:t>Software Engineers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A76202ED-4764-5B74-06DB-A7982DE18E7E}"/>
              </a:ext>
            </a:extLst>
          </p:cNvPr>
          <p:cNvSpPr/>
          <p:nvPr/>
        </p:nvSpPr>
        <p:spPr>
          <a:xfrm>
            <a:off x="2993782" y="3814331"/>
            <a:ext cx="993604" cy="365760"/>
          </a:xfrm>
          <a:prstGeom prst="rect">
            <a:avLst/>
          </a:prstGeom>
          <a:solidFill>
            <a:srgbClr val="D6D6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rgbClr val="000000"/>
                </a:solidFill>
              </a:rPr>
              <a:t>Software Engineer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8C9FDD7A-02FF-E35C-7103-99CD43CCB15E}"/>
              </a:ext>
            </a:extLst>
          </p:cNvPr>
          <p:cNvSpPr/>
          <p:nvPr/>
        </p:nvSpPr>
        <p:spPr>
          <a:xfrm>
            <a:off x="4551925" y="3814506"/>
            <a:ext cx="993604" cy="365760"/>
          </a:xfrm>
          <a:prstGeom prst="rect">
            <a:avLst/>
          </a:prstGeom>
          <a:solidFill>
            <a:srgbClr val="D6D6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rgbClr val="000000"/>
                </a:solidFill>
              </a:rPr>
              <a:t>Quality Analysts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0EE1E745-41CB-F414-2DA2-AF81C8F4133D}"/>
              </a:ext>
            </a:extLst>
          </p:cNvPr>
          <p:cNvSpPr/>
          <p:nvPr/>
        </p:nvSpPr>
        <p:spPr>
          <a:xfrm>
            <a:off x="4551925" y="4353765"/>
            <a:ext cx="993604" cy="365760"/>
          </a:xfrm>
          <a:prstGeom prst="rect">
            <a:avLst/>
          </a:prstGeom>
          <a:solidFill>
            <a:srgbClr val="D6D6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rgbClr val="000000"/>
                </a:solidFill>
              </a:rPr>
              <a:t>Software Eng., Test</a:t>
            </a: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7DE4CFE7-BBCB-A028-DD25-8F0AD942E231}"/>
              </a:ext>
            </a:extLst>
          </p:cNvPr>
          <p:cNvCxnSpPr>
            <a:cxnSpLocks/>
            <a:endCxn id="79" idx="1"/>
          </p:cNvCxnSpPr>
          <p:nvPr/>
        </p:nvCxnSpPr>
        <p:spPr bwMode="gray">
          <a:xfrm rot="5400000">
            <a:off x="4444940" y="3622791"/>
            <a:ext cx="481580" cy="267610"/>
          </a:xfrm>
          <a:prstGeom prst="bentConnector4">
            <a:avLst>
              <a:gd name="adj1" fmla="val 37560"/>
              <a:gd name="adj2" fmla="val 185423"/>
            </a:avLst>
          </a:prstGeom>
          <a:ln w="9525" cap="flat">
            <a:solidFill>
              <a:srgbClr val="D9D9D9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nector: Elbow 86">
            <a:extLst>
              <a:ext uri="{FF2B5EF4-FFF2-40B4-BE49-F238E27FC236}">
                <a16:creationId xmlns:a16="http://schemas.microsoft.com/office/drawing/2014/main" id="{D241FF38-4367-4A73-0A64-B817E6AC6DCF}"/>
              </a:ext>
            </a:extLst>
          </p:cNvPr>
          <p:cNvCxnSpPr>
            <a:cxnSpLocks/>
            <a:endCxn id="80" idx="1"/>
          </p:cNvCxnSpPr>
          <p:nvPr/>
        </p:nvCxnSpPr>
        <p:spPr bwMode="gray">
          <a:xfrm rot="5400000">
            <a:off x="4175310" y="3892420"/>
            <a:ext cx="1020840" cy="267610"/>
          </a:xfrm>
          <a:prstGeom prst="bentConnector4">
            <a:avLst>
              <a:gd name="adj1" fmla="val 17105"/>
              <a:gd name="adj2" fmla="val 185423"/>
            </a:avLst>
          </a:prstGeom>
          <a:ln w="9525" cap="flat">
            <a:solidFill>
              <a:srgbClr val="D9D9D9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tangle 88">
            <a:extLst>
              <a:ext uri="{FF2B5EF4-FFF2-40B4-BE49-F238E27FC236}">
                <a16:creationId xmlns:a16="http://schemas.microsoft.com/office/drawing/2014/main" id="{973719FE-874E-1C61-C31F-86166CD6FD02}"/>
              </a:ext>
            </a:extLst>
          </p:cNvPr>
          <p:cNvSpPr/>
          <p:nvPr/>
        </p:nvSpPr>
        <p:spPr>
          <a:xfrm>
            <a:off x="6054156" y="3814331"/>
            <a:ext cx="993604" cy="365760"/>
          </a:xfrm>
          <a:prstGeom prst="rect">
            <a:avLst/>
          </a:prstGeom>
          <a:solidFill>
            <a:srgbClr val="D6D6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rgbClr val="000000"/>
                </a:solidFill>
              </a:rPr>
              <a:t>Cloud Services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41813689-537A-AD1F-38C3-03DFF1776ECD}"/>
              </a:ext>
            </a:extLst>
          </p:cNvPr>
          <p:cNvSpPr/>
          <p:nvPr/>
        </p:nvSpPr>
        <p:spPr>
          <a:xfrm>
            <a:off x="6065766" y="4353765"/>
            <a:ext cx="993604" cy="365760"/>
          </a:xfrm>
          <a:prstGeom prst="rect">
            <a:avLst/>
          </a:prstGeom>
          <a:solidFill>
            <a:srgbClr val="D6D6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rgbClr val="000000"/>
                </a:solidFill>
              </a:rPr>
              <a:t>Application Security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58EABBE4-B435-9DBB-779C-84FF868069CE}"/>
              </a:ext>
            </a:extLst>
          </p:cNvPr>
          <p:cNvSpPr/>
          <p:nvPr/>
        </p:nvSpPr>
        <p:spPr>
          <a:xfrm>
            <a:off x="6065766" y="4893199"/>
            <a:ext cx="993604" cy="365760"/>
          </a:xfrm>
          <a:prstGeom prst="rect">
            <a:avLst/>
          </a:prstGeom>
          <a:solidFill>
            <a:srgbClr val="D6D6D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rgbClr val="000000"/>
                </a:solidFill>
              </a:rPr>
              <a:t>Data Service</a:t>
            </a:r>
          </a:p>
        </p:txBody>
      </p:sp>
      <p:cxnSp>
        <p:nvCxnSpPr>
          <p:cNvPr id="93" name="Connector: Elbow 92">
            <a:extLst>
              <a:ext uri="{FF2B5EF4-FFF2-40B4-BE49-F238E27FC236}">
                <a16:creationId xmlns:a16="http://schemas.microsoft.com/office/drawing/2014/main" id="{5A49C90F-2CF5-C1A6-563F-BAC21856E30B}"/>
              </a:ext>
            </a:extLst>
          </p:cNvPr>
          <p:cNvCxnSpPr>
            <a:cxnSpLocks/>
            <a:endCxn id="89" idx="1"/>
          </p:cNvCxnSpPr>
          <p:nvPr/>
        </p:nvCxnSpPr>
        <p:spPr bwMode="gray">
          <a:xfrm rot="16200000" flipH="1">
            <a:off x="5714982" y="3658037"/>
            <a:ext cx="493130" cy="185218"/>
          </a:xfrm>
          <a:prstGeom prst="bentConnector2">
            <a:avLst/>
          </a:prstGeom>
          <a:ln w="9525" cap="flat">
            <a:solidFill>
              <a:schemeClr val="bg1">
                <a:lumMod val="8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Connector: Elbow 94">
            <a:extLst>
              <a:ext uri="{FF2B5EF4-FFF2-40B4-BE49-F238E27FC236}">
                <a16:creationId xmlns:a16="http://schemas.microsoft.com/office/drawing/2014/main" id="{77D6E6CB-06A0-36F0-5591-3F229D4A77EF}"/>
              </a:ext>
            </a:extLst>
          </p:cNvPr>
          <p:cNvCxnSpPr>
            <a:cxnSpLocks/>
            <a:endCxn id="90" idx="1"/>
          </p:cNvCxnSpPr>
          <p:nvPr/>
        </p:nvCxnSpPr>
        <p:spPr bwMode="gray">
          <a:xfrm rot="16200000" flipH="1">
            <a:off x="5456932" y="3927811"/>
            <a:ext cx="1020840" cy="196828"/>
          </a:xfrm>
          <a:prstGeom prst="bentConnector2">
            <a:avLst/>
          </a:prstGeom>
          <a:ln w="9525" cap="flat">
            <a:solidFill>
              <a:schemeClr val="bg1">
                <a:lumMod val="8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F24DEC7C-1B86-8A42-F227-C3B92275A728}"/>
              </a:ext>
            </a:extLst>
          </p:cNvPr>
          <p:cNvCxnSpPr>
            <a:cxnSpLocks/>
            <a:endCxn id="91" idx="1"/>
          </p:cNvCxnSpPr>
          <p:nvPr/>
        </p:nvCxnSpPr>
        <p:spPr bwMode="gray">
          <a:xfrm rot="16200000" flipH="1">
            <a:off x="5181352" y="4191665"/>
            <a:ext cx="1572000" cy="196828"/>
          </a:xfrm>
          <a:prstGeom prst="bentConnector2">
            <a:avLst/>
          </a:prstGeom>
          <a:ln w="9525" cap="flat">
            <a:solidFill>
              <a:schemeClr val="bg1">
                <a:lumMod val="8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btfpNotesBox584096">
            <a:extLst>
              <a:ext uri="{FF2B5EF4-FFF2-40B4-BE49-F238E27FC236}">
                <a16:creationId xmlns:a16="http://schemas.microsoft.com/office/drawing/2014/main" id="{6A159C0A-FC1F-3CD7-941B-168B5DE37F9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800" dirty="0">
                <a:solidFill>
                  <a:srgbClr val="000000"/>
                </a:solidFill>
              </a:rPr>
              <a:t>Note: CTO- Chief Technology Officer, CPO- Chief Product Officer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800" dirty="0">
                <a:solidFill>
                  <a:srgbClr val="000000"/>
                </a:solidFill>
              </a:rPr>
              <a:t>Source: </a:t>
            </a:r>
            <a:r>
              <a:rPr lang="en-US" sz="800" dirty="0">
                <a:solidFill>
                  <a:srgbClr val="000000"/>
                </a:solidFill>
              </a:rPr>
              <a:t>Target VDD deck</a:t>
            </a:r>
            <a:r>
              <a:rPr lang="en-GB" sz="800" dirty="0">
                <a:solidFill>
                  <a:srgbClr val="000000"/>
                </a:solidFill>
              </a:rPr>
              <a:t>; </a:t>
            </a:r>
            <a:r>
              <a:rPr lang="en-US" sz="800" dirty="0">
                <a:solidFill>
                  <a:srgbClr val="000000"/>
                </a:solidFill>
              </a:rPr>
              <a:t>Target disclosure;</a:t>
            </a:r>
            <a:r>
              <a:rPr lang="en-GB" sz="800" dirty="0">
                <a:solidFill>
                  <a:srgbClr val="000000"/>
                </a:solidFill>
              </a:rPr>
              <a:t> Bain analysis</a:t>
            </a:r>
          </a:p>
        </p:txBody>
      </p:sp>
      <p:grpSp>
        <p:nvGrpSpPr>
          <p:cNvPr id="100" name="btfpColumnHeaderBox553786">
            <a:extLst>
              <a:ext uri="{FF2B5EF4-FFF2-40B4-BE49-F238E27FC236}">
                <a16:creationId xmlns:a16="http://schemas.microsoft.com/office/drawing/2014/main" id="{564A2693-8863-8B8A-287B-966702987A08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763069" y="1270000"/>
            <a:ext cx="4098731" cy="318997"/>
            <a:chOff x="8378296" y="1715997"/>
            <a:chExt cx="3483504" cy="318997"/>
          </a:xfrm>
        </p:grpSpPr>
        <p:sp>
          <p:nvSpPr>
            <p:cNvPr id="101" name="btfpColumnHeaderBoxText553786">
              <a:extLst>
                <a:ext uri="{FF2B5EF4-FFF2-40B4-BE49-F238E27FC236}">
                  <a16:creationId xmlns:a16="http://schemas.microsoft.com/office/drawing/2014/main" id="{E03AE919-32A1-7B2C-8245-114BF3D78229}"/>
                </a:ext>
              </a:extLst>
            </p:cNvPr>
            <p:cNvSpPr txBox="1"/>
            <p:nvPr/>
          </p:nvSpPr>
          <p:spPr bwMode="gray">
            <a:xfrm>
              <a:off x="8378296" y="1715997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Key takeaways</a:t>
              </a:r>
            </a:p>
          </p:txBody>
        </p:sp>
        <p:cxnSp>
          <p:nvCxnSpPr>
            <p:cNvPr id="102" name="btfpColumnHeaderBoxLine553786">
              <a:extLst>
                <a:ext uri="{FF2B5EF4-FFF2-40B4-BE49-F238E27FC236}">
                  <a16:creationId xmlns:a16="http://schemas.microsoft.com/office/drawing/2014/main" id="{623D4096-3792-B5C8-C8FA-F82E9AC2E883}"/>
                </a:ext>
              </a:extLst>
            </p:cNvPr>
            <p:cNvCxnSpPr/>
            <p:nvPr/>
          </p:nvCxnSpPr>
          <p:spPr bwMode="gray">
            <a:xfrm>
              <a:off x="8378296" y="2034994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4" name="btfpBulletedList431465">
            <a:extLst>
              <a:ext uri="{FF2B5EF4-FFF2-40B4-BE49-F238E27FC236}">
                <a16:creationId xmlns:a16="http://schemas.microsoft.com/office/drawing/2014/main" id="{DCF84DD5-CC32-7B73-075D-FA298AB0B5B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7763069" y="1660011"/>
            <a:ext cx="4098731" cy="3565967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100" dirty="0">
                <a:solidFill>
                  <a:srgbClr val="000000"/>
                </a:solidFill>
              </a:rPr>
              <a:t>Target's technology organization </a:t>
            </a:r>
            <a:r>
              <a:rPr lang="en-US" sz="1100" b="1" dirty="0">
                <a:solidFill>
                  <a:srgbClr val="000000"/>
                </a:solidFill>
              </a:rPr>
              <a:t>consists of cross-functional teams, comprised of product engineering and QA</a:t>
            </a:r>
            <a:r>
              <a:rPr lang="en-US" sz="1100" dirty="0">
                <a:solidFill>
                  <a:srgbClr val="000000"/>
                </a:solidFill>
              </a:rPr>
              <a:t>, which report to the CPTO</a:t>
            </a:r>
          </a:p>
          <a:p>
            <a:pPr>
              <a:spcBef>
                <a:spcPts val="600"/>
              </a:spcBef>
            </a:pPr>
            <a:r>
              <a:rPr lang="en-US" sz="1100" dirty="0">
                <a:solidFill>
                  <a:srgbClr val="000000"/>
                </a:solidFill>
              </a:rPr>
              <a:t>Target is </a:t>
            </a:r>
            <a:r>
              <a:rPr lang="en-US" sz="1100" b="1" dirty="0">
                <a:solidFill>
                  <a:srgbClr val="000000"/>
                </a:solidFill>
              </a:rPr>
              <a:t>primarily based in the US</a:t>
            </a:r>
            <a:r>
              <a:rPr lang="en-US" sz="1100" dirty="0">
                <a:solidFill>
                  <a:srgbClr val="000000"/>
                </a:solidFill>
              </a:rPr>
              <a:t>, with nine resources located in Canada. While </a:t>
            </a:r>
            <a:r>
              <a:rPr lang="en-US" sz="1100" b="1" dirty="0">
                <a:solidFill>
                  <a:srgbClr val="000000"/>
                </a:solidFill>
              </a:rPr>
              <a:t>most resources are in-house, Target outsources </a:t>
            </a:r>
            <a:r>
              <a:rPr lang="en-US" sz="1100" dirty="0">
                <a:solidFill>
                  <a:srgbClr val="000000"/>
                </a:solidFill>
              </a:rPr>
              <a:t>certain functions, particularly software engineering and QA</a:t>
            </a:r>
          </a:p>
          <a:p>
            <a:pPr>
              <a:spcBef>
                <a:spcPts val="600"/>
              </a:spcBef>
            </a:pPr>
            <a:r>
              <a:rPr lang="en-US" sz="1100" dirty="0">
                <a:solidFill>
                  <a:srgbClr val="000000"/>
                </a:solidFill>
              </a:rPr>
              <a:t>In recent years, Target has </a:t>
            </a:r>
            <a:r>
              <a:rPr lang="en-US" sz="1100" b="1" dirty="0">
                <a:solidFill>
                  <a:srgbClr val="000000"/>
                </a:solidFill>
              </a:rPr>
              <a:t>invested in scaling its organization </a:t>
            </a:r>
            <a:r>
              <a:rPr lang="en-US" sz="1100" dirty="0">
                <a:solidFill>
                  <a:srgbClr val="000000"/>
                </a:solidFill>
              </a:rPr>
              <a:t>by expanding the </a:t>
            </a:r>
            <a:r>
              <a:rPr lang="en-US" sz="1100" b="1" dirty="0">
                <a:solidFill>
                  <a:srgbClr val="000000"/>
                </a:solidFill>
              </a:rPr>
              <a:t>offshore FTE </a:t>
            </a:r>
            <a:r>
              <a:rPr lang="en-US" sz="1100" dirty="0">
                <a:solidFill>
                  <a:srgbClr val="000000"/>
                </a:solidFill>
              </a:rPr>
              <a:t>count and increased utilization of </a:t>
            </a:r>
            <a:r>
              <a:rPr lang="en-US" sz="1100" b="1" dirty="0">
                <a:solidFill>
                  <a:srgbClr val="000000"/>
                </a:solidFill>
              </a:rPr>
              <a:t>remote employees. </a:t>
            </a:r>
            <a:r>
              <a:rPr lang="en-US" sz="1100" dirty="0">
                <a:solidFill>
                  <a:srgbClr val="000000"/>
                </a:solidFill>
              </a:rPr>
              <a:t>The R&amp;D organization consists of ~</a:t>
            </a:r>
            <a:r>
              <a:rPr lang="en-US" sz="1100" b="1" dirty="0">
                <a:solidFill>
                  <a:srgbClr val="000000"/>
                </a:solidFill>
              </a:rPr>
              <a:t>40% remote and offshore FTEs </a:t>
            </a:r>
            <a:r>
              <a:rPr lang="en-US" sz="1100" dirty="0">
                <a:solidFill>
                  <a:srgbClr val="000000"/>
                </a:solidFill>
              </a:rPr>
              <a:t>with the remaining 60% in-person/hybrid in Tampa, FL</a:t>
            </a:r>
            <a:endParaRPr lang="en-US" sz="1100" b="1" dirty="0">
              <a:solidFill>
                <a:srgbClr val="000000"/>
              </a:solidFill>
            </a:endParaRPr>
          </a:p>
          <a:p>
            <a:pPr lvl="1">
              <a:spcBef>
                <a:spcPts val="0"/>
              </a:spcBef>
            </a:pPr>
            <a:r>
              <a:rPr lang="en-US" sz="900" dirty="0">
                <a:solidFill>
                  <a:srgbClr val="000000"/>
                </a:solidFill>
              </a:rPr>
              <a:t>Within the past 2 years, Target has hired remote FTEs from the US and Canada. Greater adoption of remote workers allows Target to access more experienced talent</a:t>
            </a:r>
          </a:p>
          <a:p>
            <a:pPr>
              <a:spcBef>
                <a:spcPts val="600"/>
              </a:spcBef>
            </a:pPr>
            <a:r>
              <a:rPr lang="en-US" sz="1100" dirty="0"/>
              <a:t>The company has </a:t>
            </a:r>
            <a:r>
              <a:rPr lang="en-US" sz="1100" b="1" dirty="0"/>
              <a:t>~135 resources dedicated to the Support and Implementation teams</a:t>
            </a:r>
            <a:r>
              <a:rPr lang="en-US" sz="1100" dirty="0"/>
              <a:t>, primarily consisting of Product Support Specialists, Project Managers/Specialists, and Implementation Specialists</a:t>
            </a:r>
          </a:p>
          <a:p>
            <a:pPr lvl="1">
              <a:spcBef>
                <a:spcPts val="0"/>
              </a:spcBef>
            </a:pPr>
            <a:r>
              <a:rPr lang="en-US" sz="900" dirty="0"/>
              <a:t>The </a:t>
            </a:r>
            <a:r>
              <a:rPr lang="en-US" sz="900" b="1" dirty="0"/>
              <a:t>Implementation team </a:t>
            </a:r>
            <a:r>
              <a:rPr lang="en-US" sz="900" dirty="0"/>
              <a:t>is </a:t>
            </a:r>
            <a:r>
              <a:rPr lang="en-US" sz="900" b="1" dirty="0"/>
              <a:t>responsible for customer migrations</a:t>
            </a:r>
            <a:endParaRPr lang="en-US" sz="900" dirty="0"/>
          </a:p>
        </p:txBody>
      </p:sp>
      <p:sp>
        <p:nvSpPr>
          <p:cNvPr id="115" name="btfpBulletedList668729">
            <a:extLst>
              <a:ext uri="{FF2B5EF4-FFF2-40B4-BE49-F238E27FC236}">
                <a16:creationId xmlns:a16="http://schemas.microsoft.com/office/drawing/2014/main" id="{6AAE861A-4FB0-795B-536B-2C00B6759E2E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342130" y="1628256"/>
            <a:ext cx="3954498" cy="241980"/>
          </a:xfrm>
          <a:prstGeom prst="rect">
            <a:avLst/>
          </a:prstGeom>
          <a:noFill/>
          <a:ln>
            <a:noFill/>
          </a:ln>
        </p:spPr>
        <p:txBody>
          <a:bodyPr vert="horz"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100" dirty="0"/>
              <a:t>Total R&amp;D resources: 127 FTEs (and ~50 offshore FTEs)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1C3C85-0317-FB63-AA9D-BD5BABDCE483}"/>
              </a:ext>
            </a:extLst>
          </p:cNvPr>
          <p:cNvSpPr/>
          <p:nvPr/>
        </p:nvSpPr>
        <p:spPr>
          <a:xfrm>
            <a:off x="441057" y="3199047"/>
            <a:ext cx="993604" cy="365760"/>
          </a:xfrm>
          <a:prstGeom prst="rect">
            <a:avLst/>
          </a:prstGeom>
          <a:solidFill>
            <a:srgbClr val="85858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chemeClr val="bg1"/>
                </a:solidFill>
              </a:rPr>
              <a:t>SVP, Product Managemen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6CD95A7-519B-1D2A-7CBD-9E3536CD0052}"/>
              </a:ext>
            </a:extLst>
          </p:cNvPr>
          <p:cNvSpPr/>
          <p:nvPr/>
        </p:nvSpPr>
        <p:spPr>
          <a:xfrm>
            <a:off x="5868939" y="3199047"/>
            <a:ext cx="993604" cy="365760"/>
          </a:xfrm>
          <a:prstGeom prst="rect">
            <a:avLst/>
          </a:prstGeom>
          <a:solidFill>
            <a:srgbClr val="85858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chemeClr val="bg1"/>
                </a:solidFill>
              </a:rPr>
              <a:t>Director, Tech Op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23B15F8-8EC4-0C04-5330-9F6EFAC20B02}"/>
              </a:ext>
            </a:extLst>
          </p:cNvPr>
          <p:cNvSpPr/>
          <p:nvPr/>
        </p:nvSpPr>
        <p:spPr>
          <a:xfrm>
            <a:off x="4348375" y="3199047"/>
            <a:ext cx="993604" cy="365760"/>
          </a:xfrm>
          <a:prstGeom prst="rect">
            <a:avLst/>
          </a:prstGeom>
          <a:solidFill>
            <a:srgbClr val="85858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chemeClr val="bg1"/>
                </a:solidFill>
              </a:rPr>
              <a:t>Director, Quality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7D824FAB-E6D8-6B63-491C-FAE262107731}"/>
              </a:ext>
            </a:extLst>
          </p:cNvPr>
          <p:cNvCxnSpPr>
            <a:cxnSpLocks/>
            <a:stCxn id="19" idx="2"/>
            <a:endCxn id="22" idx="0"/>
          </p:cNvCxnSpPr>
          <p:nvPr/>
        </p:nvCxnSpPr>
        <p:spPr bwMode="gray">
          <a:xfrm rot="5400000">
            <a:off x="3446372" y="2707694"/>
            <a:ext cx="537380" cy="445327"/>
          </a:xfrm>
          <a:prstGeom prst="bentConnector3">
            <a:avLst>
              <a:gd name="adj1" fmla="val 50000"/>
            </a:avLst>
          </a:prstGeom>
          <a:ln w="9525" cap="flat">
            <a:solidFill>
              <a:srgbClr val="E3E3E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9E89EC2-ABD4-BFA0-D066-B82D2A50EBCC}"/>
              </a:ext>
            </a:extLst>
          </p:cNvPr>
          <p:cNvCxnSpPr>
            <a:cxnSpLocks/>
            <a:stCxn id="22" idx="2"/>
            <a:endCxn id="73" idx="0"/>
          </p:cNvCxnSpPr>
          <p:nvPr/>
        </p:nvCxnSpPr>
        <p:spPr bwMode="gray">
          <a:xfrm flipH="1">
            <a:off x="3490584" y="3564807"/>
            <a:ext cx="1814" cy="249524"/>
          </a:xfrm>
          <a:prstGeom prst="line">
            <a:avLst/>
          </a:prstGeom>
          <a:ln w="9525" cap="flat">
            <a:solidFill>
              <a:srgbClr val="E3E3E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B33F036-DAAE-E43C-194B-0D660933264C}"/>
              </a:ext>
            </a:extLst>
          </p:cNvPr>
          <p:cNvCxnSpPr>
            <a:cxnSpLocks/>
            <a:stCxn id="21" idx="2"/>
            <a:endCxn id="70" idx="0"/>
          </p:cNvCxnSpPr>
          <p:nvPr/>
        </p:nvCxnSpPr>
        <p:spPr bwMode="gray">
          <a:xfrm>
            <a:off x="2323920" y="3564807"/>
            <a:ext cx="1" cy="249700"/>
          </a:xfrm>
          <a:prstGeom prst="line">
            <a:avLst/>
          </a:prstGeom>
          <a:ln w="9525" cap="flat">
            <a:solidFill>
              <a:srgbClr val="E3E3E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6CA2E3C1-7C1C-7E09-FF8F-D33D7664D10E}"/>
              </a:ext>
            </a:extLst>
          </p:cNvPr>
          <p:cNvSpPr/>
          <p:nvPr/>
        </p:nvSpPr>
        <p:spPr>
          <a:xfrm>
            <a:off x="5322836" y="1688858"/>
            <a:ext cx="1783860" cy="1037497"/>
          </a:xfrm>
          <a:prstGeom prst="rect">
            <a:avLst/>
          </a:prstGeom>
          <a:solidFill>
            <a:srgbClr val="E3E3E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680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1000" b="1">
                <a:solidFill>
                  <a:srgbClr val="000000"/>
                </a:solidFill>
              </a:rPr>
              <a:t>~135 FTEs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71E5A85-728F-A873-AD4B-30E2356D3748}"/>
              </a:ext>
            </a:extLst>
          </p:cNvPr>
          <p:cNvSpPr/>
          <p:nvPr/>
        </p:nvSpPr>
        <p:spPr>
          <a:xfrm>
            <a:off x="5522798" y="1776081"/>
            <a:ext cx="1344004" cy="319832"/>
          </a:xfrm>
          <a:prstGeom prst="rect">
            <a:avLst/>
          </a:prstGeom>
          <a:solidFill>
            <a:srgbClr val="85858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1000" b="1">
                <a:solidFill>
                  <a:schemeClr val="bg1"/>
                </a:solidFill>
              </a:rPr>
              <a:t>Implementation team</a:t>
            </a:r>
            <a:br>
              <a:rPr lang="en-US" sz="1000" b="1">
                <a:solidFill>
                  <a:schemeClr val="bg1"/>
                </a:solidFill>
              </a:rPr>
            </a:br>
            <a:r>
              <a:rPr lang="en-US" sz="1000" b="1">
                <a:solidFill>
                  <a:schemeClr val="bg1"/>
                </a:solidFill>
              </a:rPr>
              <a:t>~40 FT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D198BEA-A7F3-5C8B-12A9-5BE736F1B921}"/>
              </a:ext>
            </a:extLst>
          </p:cNvPr>
          <p:cNvSpPr/>
          <p:nvPr/>
        </p:nvSpPr>
        <p:spPr>
          <a:xfrm>
            <a:off x="5524196" y="2146595"/>
            <a:ext cx="1344004" cy="319832"/>
          </a:xfrm>
          <a:prstGeom prst="rect">
            <a:avLst/>
          </a:prstGeom>
          <a:solidFill>
            <a:srgbClr val="85858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1000" b="1">
                <a:solidFill>
                  <a:schemeClr val="bg1"/>
                </a:solidFill>
              </a:rPr>
              <a:t>Support team</a:t>
            </a:r>
            <a:br>
              <a:rPr lang="en-US" sz="1000" b="1">
                <a:solidFill>
                  <a:schemeClr val="bg1"/>
                </a:solidFill>
              </a:rPr>
            </a:br>
            <a:r>
              <a:rPr lang="en-US" sz="1000" b="1">
                <a:solidFill>
                  <a:schemeClr val="bg1"/>
                </a:solidFill>
              </a:rPr>
              <a:t>~95 FTEs</a:t>
            </a:r>
          </a:p>
        </p:txBody>
      </p:sp>
      <p:grpSp>
        <p:nvGrpSpPr>
          <p:cNvPr id="8" name="btfpColumnHeaderBox449242">
            <a:extLst>
              <a:ext uri="{FF2B5EF4-FFF2-40B4-BE49-F238E27FC236}">
                <a16:creationId xmlns:a16="http://schemas.microsoft.com/office/drawing/2014/main" id="{56E5A6C7-1447-BFC7-C206-38F97EAB89E7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330200" y="1270000"/>
            <a:ext cx="6797650" cy="318997"/>
            <a:chOff x="330200" y="1270000"/>
            <a:chExt cx="11531600" cy="318997"/>
          </a:xfrm>
        </p:grpSpPr>
        <p:sp>
          <p:nvSpPr>
            <p:cNvPr id="6" name="btfpColumnHeaderBoxText449242">
              <a:extLst>
                <a:ext uri="{FF2B5EF4-FFF2-40B4-BE49-F238E27FC236}">
                  <a16:creationId xmlns:a16="http://schemas.microsoft.com/office/drawing/2014/main" id="{AF273004-9AE8-413A-F4C6-4EB2D3216753}"/>
                </a:ext>
              </a:extLst>
            </p:cNvPr>
            <p:cNvSpPr txBox="1"/>
            <p:nvPr/>
          </p:nvSpPr>
          <p:spPr bwMode="gray">
            <a:xfrm>
              <a:off x="330200" y="1270000"/>
              <a:ext cx="11531600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 dirty="0">
                  <a:solidFill>
                    <a:srgbClr val="000000"/>
                  </a:solidFill>
                </a:rPr>
                <a:t>Target R&amp;D organization</a:t>
              </a:r>
            </a:p>
          </p:txBody>
        </p:sp>
        <p:cxnSp>
          <p:nvCxnSpPr>
            <p:cNvPr id="7" name="btfpColumnHeaderBoxLine449242">
              <a:extLst>
                <a:ext uri="{FF2B5EF4-FFF2-40B4-BE49-F238E27FC236}">
                  <a16:creationId xmlns:a16="http://schemas.microsoft.com/office/drawing/2014/main" id="{209DE579-A998-EFEA-C6CD-EABFED06068D}"/>
                </a:ext>
              </a:extLst>
            </p:cNvPr>
            <p:cNvCxnSpPr/>
            <p:nvPr/>
          </p:nvCxnSpPr>
          <p:spPr bwMode="gray">
            <a:xfrm>
              <a:off x="330200" y="1588997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btfpCallout429544">
            <a:extLst>
              <a:ext uri="{FF2B5EF4-FFF2-40B4-BE49-F238E27FC236}">
                <a16:creationId xmlns:a16="http://schemas.microsoft.com/office/drawing/2014/main" id="{A4476F58-5003-A42C-1306-84F5607BFD09}"/>
              </a:ext>
            </a:extLst>
          </p:cNvPr>
          <p:cNvSpPr/>
          <p:nvPr/>
        </p:nvSpPr>
        <p:spPr bwMode="gray">
          <a:xfrm>
            <a:off x="370470" y="1997025"/>
            <a:ext cx="2183250" cy="743394"/>
          </a:xfrm>
          <a:prstGeom prst="wedgeRectCallout">
            <a:avLst>
              <a:gd name="adj1" fmla="val 21329"/>
              <a:gd name="adj2" fmla="val -64936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1100" dirty="0">
                <a:solidFill>
                  <a:srgbClr val="5C5C5C"/>
                </a:solidFill>
              </a:rPr>
              <a:t>Target has </a:t>
            </a:r>
            <a:r>
              <a:rPr lang="en-US" sz="1100" b="1" dirty="0">
                <a:solidFill>
                  <a:srgbClr val="5C5C5C"/>
                </a:solidFill>
              </a:rPr>
              <a:t>2 open roles within its R&amp;D organization:</a:t>
            </a:r>
            <a:r>
              <a:rPr lang="en-US" sz="1100" dirty="0">
                <a:solidFill>
                  <a:srgbClr val="5C5C5C"/>
                </a:solidFill>
              </a:rPr>
              <a:t> Senior Director - Product and Director - Quality Assurance </a:t>
            </a:r>
          </a:p>
        </p:txBody>
      </p:sp>
      <p:sp>
        <p:nvSpPr>
          <p:cNvPr id="4" name="btfpQuoteBox816672">
            <a:extLst>
              <a:ext uri="{FF2B5EF4-FFF2-40B4-BE49-F238E27FC236}">
                <a16:creationId xmlns:a16="http://schemas.microsoft.com/office/drawing/2014/main" id="{C8040B21-849E-928B-8472-99DFC3FFD790}"/>
              </a:ext>
            </a:extLst>
          </p:cNvPr>
          <p:cNvSpPr txBox="1"/>
          <p:nvPr>
            <p:custDataLst>
              <p:tags r:id="rId10"/>
            </p:custDataLst>
          </p:nvPr>
        </p:nvSpPr>
        <p:spPr bwMode="gray">
          <a:xfrm>
            <a:off x="7837752" y="5397009"/>
            <a:ext cx="4024048" cy="1180771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1000" i="1" dirty="0"/>
              <a:t>“T</a:t>
            </a:r>
            <a:r>
              <a:rPr lang="en-US" sz="1050" i="1" dirty="0">
                <a:effectLst/>
              </a:rPr>
              <a:t>he people that work there now, they have an </a:t>
            </a:r>
            <a:r>
              <a:rPr lang="en-US" sz="1050" b="1" i="1" dirty="0">
                <a:effectLst/>
              </a:rPr>
              <a:t>outstanding understanding of what their market </a:t>
            </a:r>
            <a:r>
              <a:rPr lang="en-US" sz="1050" i="1" dirty="0">
                <a:effectLst/>
              </a:rPr>
              <a:t>is, what their </a:t>
            </a:r>
            <a:r>
              <a:rPr lang="en-US" sz="1050" b="1" i="1" dirty="0">
                <a:effectLst/>
              </a:rPr>
              <a:t>solution</a:t>
            </a:r>
            <a:r>
              <a:rPr lang="en-US" sz="1050" i="1" dirty="0">
                <a:effectLst/>
              </a:rPr>
              <a:t> is, and who their </a:t>
            </a:r>
            <a:r>
              <a:rPr lang="en-US" sz="1050" b="1" i="1" dirty="0">
                <a:effectLst/>
              </a:rPr>
              <a:t>clients</a:t>
            </a:r>
            <a:r>
              <a:rPr lang="en-US" sz="1050" i="1" dirty="0">
                <a:effectLst/>
              </a:rPr>
              <a:t> are. So, you have people there that are </a:t>
            </a:r>
            <a:r>
              <a:rPr lang="en-US" sz="1050" b="1" i="1" dirty="0">
                <a:effectLst/>
              </a:rPr>
              <a:t>deeply expert in those areas. </a:t>
            </a:r>
            <a:r>
              <a:rPr lang="en-US" sz="1050" i="1" dirty="0">
                <a:effectLst/>
              </a:rPr>
              <a:t>They are </a:t>
            </a:r>
            <a:r>
              <a:rPr lang="en-US" sz="1050" b="1" i="1" dirty="0">
                <a:effectLst/>
              </a:rPr>
              <a:t>really dedicated, </a:t>
            </a:r>
            <a:r>
              <a:rPr lang="en-US" sz="1050" i="1" dirty="0">
                <a:effectLst/>
              </a:rPr>
              <a:t>you'll see a lot of </a:t>
            </a:r>
            <a:r>
              <a:rPr lang="en-US" sz="1050" b="1" i="1" dirty="0">
                <a:effectLst/>
              </a:rPr>
              <a:t>long tenure </a:t>
            </a:r>
            <a:r>
              <a:rPr lang="en-US" sz="1050" i="1" dirty="0">
                <a:effectLst/>
              </a:rPr>
              <a:t>in the people that are on staff there. And so, the knowledge is there.</a:t>
            </a:r>
            <a:r>
              <a:rPr lang="en-US" sz="1000" i="1" dirty="0"/>
              <a:t>”</a:t>
            </a:r>
          </a:p>
          <a:p>
            <a:pPr marL="177800" lvl="1" indent="0" algn="r">
              <a:spcBef>
                <a:spcPts val="0"/>
              </a:spcBef>
              <a:buNone/>
            </a:pPr>
            <a:r>
              <a:rPr lang="en-US" sz="900" dirty="0"/>
              <a:t>Former Executive #4, Targe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4AF45FA-C345-4C1D-93A7-EC6F86113393}"/>
              </a:ext>
            </a:extLst>
          </p:cNvPr>
          <p:cNvSpPr/>
          <p:nvPr/>
        </p:nvSpPr>
        <p:spPr>
          <a:xfrm>
            <a:off x="1827118" y="3199047"/>
            <a:ext cx="993604" cy="365760"/>
          </a:xfrm>
          <a:prstGeom prst="rect">
            <a:avLst/>
          </a:prstGeom>
          <a:solidFill>
            <a:srgbClr val="85858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chemeClr val="bg1"/>
                </a:solidFill>
              </a:rPr>
              <a:t>SVP, Software Development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259506E-B861-D62E-BDE6-F9A6E500896E}"/>
              </a:ext>
            </a:extLst>
          </p:cNvPr>
          <p:cNvSpPr/>
          <p:nvPr/>
        </p:nvSpPr>
        <p:spPr>
          <a:xfrm>
            <a:off x="2995596" y="3199047"/>
            <a:ext cx="993604" cy="365760"/>
          </a:xfrm>
          <a:prstGeom prst="rect">
            <a:avLst/>
          </a:prstGeom>
          <a:solidFill>
            <a:srgbClr val="85858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500"/>
              </a:spcBef>
              <a:buNone/>
            </a:pPr>
            <a:r>
              <a:rPr lang="en-US" sz="900" b="1">
                <a:solidFill>
                  <a:schemeClr val="bg1"/>
                </a:solidFill>
              </a:rPr>
              <a:t>VP, Software Developm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530380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think-cell data - do not delete" hidden="1">
            <a:extLst>
              <a:ext uri="{FF2B5EF4-FFF2-40B4-BE49-F238E27FC236}">
                <a16:creationId xmlns:a16="http://schemas.microsoft.com/office/drawing/2014/main" id="{355B7070-2BB8-356E-9B01-5D9304A2CF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84" imgH="486" progId="TCLayout.ActiveDocument.1">
                  <p:embed/>
                </p:oleObj>
              </mc:Choice>
              <mc:Fallback>
                <p:oleObj name="think-cell Slide" r:id="rId14" imgW="484" imgH="486" progId="TCLayout.ActiveDocument.1">
                  <p:embed/>
                  <p:pic>
                    <p:nvPicPr>
                      <p:cNvPr id="5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5B7070-2BB8-356E-9B01-5D9304A2C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3" name="btfpColumnIndicatorGroup2">
            <a:extLst>
              <a:ext uri="{FF2B5EF4-FFF2-40B4-BE49-F238E27FC236}">
                <a16:creationId xmlns:a16="http://schemas.microsoft.com/office/drawing/2014/main" id="{8CB72586-07CE-91D4-2A2C-1E488860740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51" name="btfpColumnGapBlocker742016">
              <a:extLst>
                <a:ext uri="{FF2B5EF4-FFF2-40B4-BE49-F238E27FC236}">
                  <a16:creationId xmlns:a16="http://schemas.microsoft.com/office/drawing/2014/main" id="{CA24AD5A-084E-38D2-A7CB-884109117C29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9" name="btfpColumnGapBlocker694200">
              <a:extLst>
                <a:ext uri="{FF2B5EF4-FFF2-40B4-BE49-F238E27FC236}">
                  <a16:creationId xmlns:a16="http://schemas.microsoft.com/office/drawing/2014/main" id="{D6F445DC-A86B-B68B-A49F-CD02BF213688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47" name="btfpColumnIndicator100466">
              <a:extLst>
                <a:ext uri="{FF2B5EF4-FFF2-40B4-BE49-F238E27FC236}">
                  <a16:creationId xmlns:a16="http://schemas.microsoft.com/office/drawing/2014/main" id="{48F2850B-FCF6-8BC1-5B9D-FA7793DD4AF3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btfpColumnIndicator705907">
              <a:extLst>
                <a:ext uri="{FF2B5EF4-FFF2-40B4-BE49-F238E27FC236}">
                  <a16:creationId xmlns:a16="http://schemas.microsoft.com/office/drawing/2014/main" id="{87F40566-1FDB-839D-02BE-1202DDB7A539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btfpColumnGapBlocker933553">
              <a:extLst>
                <a:ext uri="{FF2B5EF4-FFF2-40B4-BE49-F238E27FC236}">
                  <a16:creationId xmlns:a16="http://schemas.microsoft.com/office/drawing/2014/main" id="{F6103599-F120-0EC1-05C5-D7AA84FE1ADD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41" name="btfpColumnIndicator449178">
              <a:extLst>
                <a:ext uri="{FF2B5EF4-FFF2-40B4-BE49-F238E27FC236}">
                  <a16:creationId xmlns:a16="http://schemas.microsoft.com/office/drawing/2014/main" id="{5A16E513-6A23-714C-5690-672C9F7E652C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btfpColumnIndicator109231">
              <a:extLst>
                <a:ext uri="{FF2B5EF4-FFF2-40B4-BE49-F238E27FC236}">
                  <a16:creationId xmlns:a16="http://schemas.microsoft.com/office/drawing/2014/main" id="{F39EEF7E-B97E-8B30-6AFB-8FDF5D7FB18A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btfpColumnGapBlocker473738">
              <a:extLst>
                <a:ext uri="{FF2B5EF4-FFF2-40B4-BE49-F238E27FC236}">
                  <a16:creationId xmlns:a16="http://schemas.microsoft.com/office/drawing/2014/main" id="{63A8DF21-AE91-6D39-3367-44A2A141B7FC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8" name="btfpColumnIndicator538447">
              <a:extLst>
                <a:ext uri="{FF2B5EF4-FFF2-40B4-BE49-F238E27FC236}">
                  <a16:creationId xmlns:a16="http://schemas.microsoft.com/office/drawing/2014/main" id="{1B77A753-6FF6-C856-8DFC-65463E79A38A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btfpColumnIndicator660202">
              <a:extLst>
                <a:ext uri="{FF2B5EF4-FFF2-40B4-BE49-F238E27FC236}">
                  <a16:creationId xmlns:a16="http://schemas.microsoft.com/office/drawing/2014/main" id="{79670DE1-8CFF-790F-32E9-9247CFE8BE2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btfpColumnIndicatorGroup1">
            <a:extLst>
              <a:ext uri="{FF2B5EF4-FFF2-40B4-BE49-F238E27FC236}">
                <a16:creationId xmlns:a16="http://schemas.microsoft.com/office/drawing/2014/main" id="{C247B468-628E-0F66-91C2-ADFD98BE60EF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50" name="btfpColumnGapBlocker354014">
              <a:extLst>
                <a:ext uri="{FF2B5EF4-FFF2-40B4-BE49-F238E27FC236}">
                  <a16:creationId xmlns:a16="http://schemas.microsoft.com/office/drawing/2014/main" id="{62CFA4A9-360D-B951-86C5-450199F52D1C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8" name="btfpColumnGapBlocker891959">
              <a:extLst>
                <a:ext uri="{FF2B5EF4-FFF2-40B4-BE49-F238E27FC236}">
                  <a16:creationId xmlns:a16="http://schemas.microsoft.com/office/drawing/2014/main" id="{B353C937-3592-2ACD-DF62-995000E274B6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46" name="btfpColumnIndicator983495">
              <a:extLst>
                <a:ext uri="{FF2B5EF4-FFF2-40B4-BE49-F238E27FC236}">
                  <a16:creationId xmlns:a16="http://schemas.microsoft.com/office/drawing/2014/main" id="{B9D6FC07-0C05-ADDC-3A7D-1FFFFD28265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btfpColumnIndicator635555">
              <a:extLst>
                <a:ext uri="{FF2B5EF4-FFF2-40B4-BE49-F238E27FC236}">
                  <a16:creationId xmlns:a16="http://schemas.microsoft.com/office/drawing/2014/main" id="{B4109E33-92E3-9B9A-B8A3-58F62339002D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btfpColumnGapBlocker768242">
              <a:extLst>
                <a:ext uri="{FF2B5EF4-FFF2-40B4-BE49-F238E27FC236}">
                  <a16:creationId xmlns:a16="http://schemas.microsoft.com/office/drawing/2014/main" id="{2606520F-7A26-AFFB-7196-B441FA1CF85E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40" name="btfpColumnIndicator427171">
              <a:extLst>
                <a:ext uri="{FF2B5EF4-FFF2-40B4-BE49-F238E27FC236}">
                  <a16:creationId xmlns:a16="http://schemas.microsoft.com/office/drawing/2014/main" id="{4B4A02D2-FE53-5A63-5858-27BD778E4947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btfpColumnIndicator557587">
              <a:extLst>
                <a:ext uri="{FF2B5EF4-FFF2-40B4-BE49-F238E27FC236}">
                  <a16:creationId xmlns:a16="http://schemas.microsoft.com/office/drawing/2014/main" id="{C8324755-3CBB-804F-EB39-05C2B743C16A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btfpColumnGapBlocker309787">
              <a:extLst>
                <a:ext uri="{FF2B5EF4-FFF2-40B4-BE49-F238E27FC236}">
                  <a16:creationId xmlns:a16="http://schemas.microsoft.com/office/drawing/2014/main" id="{8994E903-D529-9A2A-4EB8-FA0F9B5E8ADA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btfpColumnIndicator239712">
              <a:extLst>
                <a:ext uri="{FF2B5EF4-FFF2-40B4-BE49-F238E27FC236}">
                  <a16:creationId xmlns:a16="http://schemas.microsoft.com/office/drawing/2014/main" id="{DC220838-45FC-4963-6A2D-6CCD04863AE3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btfpColumnIndicator869021">
              <a:extLst>
                <a:ext uri="{FF2B5EF4-FFF2-40B4-BE49-F238E27FC236}">
                  <a16:creationId xmlns:a16="http://schemas.microsoft.com/office/drawing/2014/main" id="{CAF0906A-BABA-3DB9-7EB6-C3B6D5A1E4E7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/>
              <a:t>Internal team:</a:t>
            </a:r>
            <a:r>
              <a:rPr lang="en-US" dirty="0"/>
              <a:t> A majority of Target’s R&amp;D organization is based in the US (93%), with recent hiring in Canada (~7% of headcount)</a:t>
            </a:r>
          </a:p>
        </p:txBody>
      </p:sp>
      <p:sp>
        <p:nvSpPr>
          <p:cNvPr id="9" name="btfpNotesBox584096">
            <a:extLst>
              <a:ext uri="{FF2B5EF4-FFF2-40B4-BE49-F238E27FC236}">
                <a16:creationId xmlns:a16="http://schemas.microsoft.com/office/drawing/2014/main" id="{3587CF86-9EF4-40DE-900D-E12656D89B3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800" dirty="0">
                <a:solidFill>
                  <a:srgbClr val="000000"/>
                </a:solidFill>
              </a:rPr>
              <a:t>Note: 1) Ratio based on PMs (excludes Product Analysts) 2) </a:t>
            </a:r>
            <a:r>
              <a:rPr lang="en-US" sz="800" dirty="0">
                <a:solidFill>
                  <a:srgbClr val="000000"/>
                </a:solidFill>
              </a:rPr>
              <a:t>Leadership includes C suite, Directors and VPs; Others include two Application Support Analyst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800" dirty="0">
                <a:solidFill>
                  <a:srgbClr val="000000"/>
                </a:solidFill>
              </a:rPr>
              <a:t>Source: </a:t>
            </a:r>
            <a:r>
              <a:rPr lang="en-US" sz="800" dirty="0">
                <a:solidFill>
                  <a:srgbClr val="000000"/>
                </a:solidFill>
              </a:rPr>
              <a:t>Target disclosure</a:t>
            </a:r>
            <a:r>
              <a:rPr lang="en-GB" sz="800" dirty="0">
                <a:solidFill>
                  <a:srgbClr val="000000"/>
                </a:solidFill>
              </a:rPr>
              <a:t>; Bain analysis</a:t>
            </a:r>
          </a:p>
        </p:txBody>
      </p:sp>
      <p:grpSp>
        <p:nvGrpSpPr>
          <p:cNvPr id="8" name="btfpRunningAgenda2Level116644">
            <a:extLst>
              <a:ext uri="{FF2B5EF4-FFF2-40B4-BE49-F238E27FC236}">
                <a16:creationId xmlns:a16="http://schemas.microsoft.com/office/drawing/2014/main" id="{E60142EF-3790-49D4-8B8A-95CB9989E51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0" y="944427"/>
            <a:ext cx="8751299" cy="257442"/>
            <a:chOff x="0" y="876300"/>
            <a:chExt cx="8751299" cy="257442"/>
          </a:xfrm>
        </p:grpSpPr>
        <p:sp>
          <p:nvSpPr>
            <p:cNvPr id="4" name="btfpRunningAgenda2LevelBarLeft116644">
              <a:extLst>
                <a:ext uri="{FF2B5EF4-FFF2-40B4-BE49-F238E27FC236}">
                  <a16:creationId xmlns:a16="http://schemas.microsoft.com/office/drawing/2014/main" id="{AC644E72-7ACB-48DE-BFBC-A17C939C7C94}"/>
                </a:ext>
              </a:extLst>
            </p:cNvPr>
            <p:cNvSpPr/>
            <p:nvPr/>
          </p:nvSpPr>
          <p:spPr bwMode="gray">
            <a:xfrm>
              <a:off x="0" y="876300"/>
              <a:ext cx="3912254" cy="257442"/>
            </a:xfrm>
            <a:custGeom>
              <a:avLst/>
              <a:gdLst>
                <a:gd name="connsiteX0" fmla="*/ 950801 w 6261806"/>
                <a:gd name="connsiteY0" fmla="*/ 0 h 257442"/>
                <a:gd name="connsiteX1" fmla="*/ 6261806 w 6261806"/>
                <a:gd name="connsiteY1" fmla="*/ 0 h 257442"/>
                <a:gd name="connsiteX2" fmla="*/ 6207085 w 6261806"/>
                <a:gd name="connsiteY2" fmla="*/ 257442 h 257442"/>
                <a:gd name="connsiteX3" fmla="*/ 0 w 6261806"/>
                <a:gd name="connsiteY3" fmla="*/ 257442 h 257442"/>
                <a:gd name="connsiteX0" fmla="*/ 950801 w 6207085"/>
                <a:gd name="connsiteY0" fmla="*/ 0 h 257442"/>
                <a:gd name="connsiteX1" fmla="*/ 896080 w 6207085"/>
                <a:gd name="connsiteY1" fmla="*/ 257442 h 257442"/>
                <a:gd name="connsiteX2" fmla="*/ 6207085 w 6207085"/>
                <a:gd name="connsiteY2" fmla="*/ 257442 h 257442"/>
                <a:gd name="connsiteX3" fmla="*/ 0 w 620708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87432 w 1287432"/>
                <a:gd name="connsiteY0" fmla="*/ 0 h 257442"/>
                <a:gd name="connsiteX1" fmla="*/ 1064395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388420 w 1388420"/>
                <a:gd name="connsiteY0" fmla="*/ 0 h 257442"/>
                <a:gd name="connsiteX1" fmla="*/ 1232711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548721 w 1548721"/>
                <a:gd name="connsiteY0" fmla="*/ 0 h 257442"/>
                <a:gd name="connsiteX1" fmla="*/ 1333699 w 1548721"/>
                <a:gd name="connsiteY1" fmla="*/ 257442 h 257442"/>
                <a:gd name="connsiteX2" fmla="*/ 0 w 1548721"/>
                <a:gd name="connsiteY2" fmla="*/ 257442 h 257442"/>
                <a:gd name="connsiteX3" fmla="*/ 0 w 1548721"/>
                <a:gd name="connsiteY3" fmla="*/ 0 h 257442"/>
                <a:gd name="connsiteX0" fmla="*/ 1548721 w 1548721"/>
                <a:gd name="connsiteY0" fmla="*/ 0 h 257442"/>
                <a:gd name="connsiteX1" fmla="*/ 1494000 w 1548721"/>
                <a:gd name="connsiteY1" fmla="*/ 257442 h 257442"/>
                <a:gd name="connsiteX2" fmla="*/ 0 w 1548721"/>
                <a:gd name="connsiteY2" fmla="*/ 257442 h 257442"/>
                <a:gd name="connsiteX3" fmla="*/ 0 w 1548721"/>
                <a:gd name="connsiteY3" fmla="*/ 0 h 257442"/>
                <a:gd name="connsiteX0" fmla="*/ 1548721 w 1548721"/>
                <a:gd name="connsiteY0" fmla="*/ 0 h 257442"/>
                <a:gd name="connsiteX1" fmla="*/ 1494000 w 1548721"/>
                <a:gd name="connsiteY1" fmla="*/ 257442 h 257442"/>
                <a:gd name="connsiteX2" fmla="*/ 0 w 1548721"/>
                <a:gd name="connsiteY2" fmla="*/ 257442 h 257442"/>
                <a:gd name="connsiteX3" fmla="*/ 0 w 1548721"/>
                <a:gd name="connsiteY3" fmla="*/ 0 h 257442"/>
                <a:gd name="connsiteX0" fmla="*/ 1548721 w 1548721"/>
                <a:gd name="connsiteY0" fmla="*/ 0 h 257442"/>
                <a:gd name="connsiteX1" fmla="*/ 1494000 w 1548721"/>
                <a:gd name="connsiteY1" fmla="*/ 257442 h 257442"/>
                <a:gd name="connsiteX2" fmla="*/ 0 w 1548721"/>
                <a:gd name="connsiteY2" fmla="*/ 257442 h 257442"/>
                <a:gd name="connsiteX3" fmla="*/ 0 w 1548721"/>
                <a:gd name="connsiteY3" fmla="*/ 0 h 257442"/>
                <a:gd name="connsiteX0" fmla="*/ 1717037 w 1717037"/>
                <a:gd name="connsiteY0" fmla="*/ 0 h 257442"/>
                <a:gd name="connsiteX1" fmla="*/ 1494000 w 1717037"/>
                <a:gd name="connsiteY1" fmla="*/ 257442 h 257442"/>
                <a:gd name="connsiteX2" fmla="*/ 0 w 1717037"/>
                <a:gd name="connsiteY2" fmla="*/ 257442 h 257442"/>
                <a:gd name="connsiteX3" fmla="*/ 0 w 1717037"/>
                <a:gd name="connsiteY3" fmla="*/ 0 h 257442"/>
                <a:gd name="connsiteX0" fmla="*/ 1717037 w 1717037"/>
                <a:gd name="connsiteY0" fmla="*/ 0 h 257442"/>
                <a:gd name="connsiteX1" fmla="*/ 1662316 w 1717037"/>
                <a:gd name="connsiteY1" fmla="*/ 257442 h 257442"/>
                <a:gd name="connsiteX2" fmla="*/ 0 w 1717037"/>
                <a:gd name="connsiteY2" fmla="*/ 257442 h 257442"/>
                <a:gd name="connsiteX3" fmla="*/ 0 w 1717037"/>
                <a:gd name="connsiteY3" fmla="*/ 0 h 257442"/>
                <a:gd name="connsiteX0" fmla="*/ 1717037 w 1717037"/>
                <a:gd name="connsiteY0" fmla="*/ 0 h 257442"/>
                <a:gd name="connsiteX1" fmla="*/ 1662316 w 1717037"/>
                <a:gd name="connsiteY1" fmla="*/ 257442 h 257442"/>
                <a:gd name="connsiteX2" fmla="*/ 0 w 1717037"/>
                <a:gd name="connsiteY2" fmla="*/ 257442 h 257442"/>
                <a:gd name="connsiteX3" fmla="*/ 0 w 1717037"/>
                <a:gd name="connsiteY3" fmla="*/ 0 h 257442"/>
                <a:gd name="connsiteX0" fmla="*/ 1717037 w 1717037"/>
                <a:gd name="connsiteY0" fmla="*/ 0 h 257442"/>
                <a:gd name="connsiteX1" fmla="*/ 1662316 w 1717037"/>
                <a:gd name="connsiteY1" fmla="*/ 257442 h 257442"/>
                <a:gd name="connsiteX2" fmla="*/ 0 w 1717037"/>
                <a:gd name="connsiteY2" fmla="*/ 257442 h 257442"/>
                <a:gd name="connsiteX3" fmla="*/ 0 w 1717037"/>
                <a:gd name="connsiteY3" fmla="*/ 0 h 257442"/>
                <a:gd name="connsiteX0" fmla="*/ 1894969 w 1894969"/>
                <a:gd name="connsiteY0" fmla="*/ 0 h 257442"/>
                <a:gd name="connsiteX1" fmla="*/ 1662316 w 1894969"/>
                <a:gd name="connsiteY1" fmla="*/ 257442 h 257442"/>
                <a:gd name="connsiteX2" fmla="*/ 0 w 1894969"/>
                <a:gd name="connsiteY2" fmla="*/ 257442 h 257442"/>
                <a:gd name="connsiteX3" fmla="*/ 0 w 1894969"/>
                <a:gd name="connsiteY3" fmla="*/ 0 h 257442"/>
                <a:gd name="connsiteX0" fmla="*/ 1894969 w 1894969"/>
                <a:gd name="connsiteY0" fmla="*/ 0 h 257442"/>
                <a:gd name="connsiteX1" fmla="*/ 1840248 w 1894969"/>
                <a:gd name="connsiteY1" fmla="*/ 257442 h 257442"/>
                <a:gd name="connsiteX2" fmla="*/ 0 w 1894969"/>
                <a:gd name="connsiteY2" fmla="*/ 257442 h 257442"/>
                <a:gd name="connsiteX3" fmla="*/ 0 w 1894969"/>
                <a:gd name="connsiteY3" fmla="*/ 0 h 257442"/>
                <a:gd name="connsiteX0" fmla="*/ 1894969 w 1894969"/>
                <a:gd name="connsiteY0" fmla="*/ 0 h 257442"/>
                <a:gd name="connsiteX1" fmla="*/ 1840248 w 1894969"/>
                <a:gd name="connsiteY1" fmla="*/ 257442 h 257442"/>
                <a:gd name="connsiteX2" fmla="*/ 0 w 1894969"/>
                <a:gd name="connsiteY2" fmla="*/ 257442 h 257442"/>
                <a:gd name="connsiteX3" fmla="*/ 0 w 1894969"/>
                <a:gd name="connsiteY3" fmla="*/ 0 h 257442"/>
                <a:gd name="connsiteX0" fmla="*/ 1894969 w 1894969"/>
                <a:gd name="connsiteY0" fmla="*/ 0 h 257442"/>
                <a:gd name="connsiteX1" fmla="*/ 1840248 w 1894969"/>
                <a:gd name="connsiteY1" fmla="*/ 257442 h 257442"/>
                <a:gd name="connsiteX2" fmla="*/ 0 w 1894969"/>
                <a:gd name="connsiteY2" fmla="*/ 257442 h 257442"/>
                <a:gd name="connsiteX3" fmla="*/ 0 w 1894969"/>
                <a:gd name="connsiteY3" fmla="*/ 0 h 257442"/>
                <a:gd name="connsiteX0" fmla="*/ 2047255 w 2047255"/>
                <a:gd name="connsiteY0" fmla="*/ 0 h 257442"/>
                <a:gd name="connsiteX1" fmla="*/ 1840248 w 2047255"/>
                <a:gd name="connsiteY1" fmla="*/ 257442 h 257442"/>
                <a:gd name="connsiteX2" fmla="*/ 0 w 2047255"/>
                <a:gd name="connsiteY2" fmla="*/ 257442 h 257442"/>
                <a:gd name="connsiteX3" fmla="*/ 0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0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0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0 w 2047255"/>
                <a:gd name="connsiteY3" fmla="*/ 0 h 257442"/>
                <a:gd name="connsiteX0" fmla="*/ 2148244 w 2148244"/>
                <a:gd name="connsiteY0" fmla="*/ 0 h 257442"/>
                <a:gd name="connsiteX1" fmla="*/ 1992534 w 2148244"/>
                <a:gd name="connsiteY1" fmla="*/ 257442 h 257442"/>
                <a:gd name="connsiteX2" fmla="*/ 0 w 2148244"/>
                <a:gd name="connsiteY2" fmla="*/ 257442 h 257442"/>
                <a:gd name="connsiteX3" fmla="*/ 0 w 2148244"/>
                <a:gd name="connsiteY3" fmla="*/ 0 h 257442"/>
                <a:gd name="connsiteX0" fmla="*/ 2148244 w 2148244"/>
                <a:gd name="connsiteY0" fmla="*/ 0 h 257442"/>
                <a:gd name="connsiteX1" fmla="*/ 2093522 w 2148244"/>
                <a:gd name="connsiteY1" fmla="*/ 257442 h 257442"/>
                <a:gd name="connsiteX2" fmla="*/ 0 w 2148244"/>
                <a:gd name="connsiteY2" fmla="*/ 257442 h 257442"/>
                <a:gd name="connsiteX3" fmla="*/ 0 w 2148244"/>
                <a:gd name="connsiteY3" fmla="*/ 0 h 257442"/>
                <a:gd name="connsiteX0" fmla="*/ 2148245 w 2148245"/>
                <a:gd name="connsiteY0" fmla="*/ 0 h 257442"/>
                <a:gd name="connsiteX1" fmla="*/ 2093523 w 2148245"/>
                <a:gd name="connsiteY1" fmla="*/ 257442 h 257442"/>
                <a:gd name="connsiteX2" fmla="*/ 0 w 2148245"/>
                <a:gd name="connsiteY2" fmla="*/ 257442 h 257442"/>
                <a:gd name="connsiteX3" fmla="*/ 1 w 2148245"/>
                <a:gd name="connsiteY3" fmla="*/ 0 h 257442"/>
                <a:gd name="connsiteX0" fmla="*/ 2148245 w 2148245"/>
                <a:gd name="connsiteY0" fmla="*/ 0 h 257442"/>
                <a:gd name="connsiteX1" fmla="*/ 2093523 w 2148245"/>
                <a:gd name="connsiteY1" fmla="*/ 257442 h 257442"/>
                <a:gd name="connsiteX2" fmla="*/ 0 w 2148245"/>
                <a:gd name="connsiteY2" fmla="*/ 257442 h 257442"/>
                <a:gd name="connsiteX3" fmla="*/ 1 w 2148245"/>
                <a:gd name="connsiteY3" fmla="*/ 0 h 257442"/>
                <a:gd name="connsiteX0" fmla="*/ 2300531 w 2300531"/>
                <a:gd name="connsiteY0" fmla="*/ 0 h 257442"/>
                <a:gd name="connsiteX1" fmla="*/ 2093523 w 2300531"/>
                <a:gd name="connsiteY1" fmla="*/ 257442 h 257442"/>
                <a:gd name="connsiteX2" fmla="*/ 0 w 2300531"/>
                <a:gd name="connsiteY2" fmla="*/ 257442 h 257442"/>
                <a:gd name="connsiteX3" fmla="*/ 1 w 2300531"/>
                <a:gd name="connsiteY3" fmla="*/ 0 h 257442"/>
                <a:gd name="connsiteX0" fmla="*/ 2300531 w 2300531"/>
                <a:gd name="connsiteY0" fmla="*/ 0 h 257442"/>
                <a:gd name="connsiteX1" fmla="*/ 2245810 w 2300531"/>
                <a:gd name="connsiteY1" fmla="*/ 257442 h 257442"/>
                <a:gd name="connsiteX2" fmla="*/ 0 w 2300531"/>
                <a:gd name="connsiteY2" fmla="*/ 257442 h 257442"/>
                <a:gd name="connsiteX3" fmla="*/ 1 w 2300531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0 w 2300530"/>
                <a:gd name="connsiteY3" fmla="*/ 0 h 257442"/>
                <a:gd name="connsiteX0" fmla="*/ 2300531 w 2300531"/>
                <a:gd name="connsiteY0" fmla="*/ 0 h 257442"/>
                <a:gd name="connsiteX1" fmla="*/ 2245810 w 2300531"/>
                <a:gd name="connsiteY1" fmla="*/ 257442 h 257442"/>
                <a:gd name="connsiteX2" fmla="*/ 1 w 2300531"/>
                <a:gd name="connsiteY2" fmla="*/ 257442 h 257442"/>
                <a:gd name="connsiteX3" fmla="*/ 0 w 2300531"/>
                <a:gd name="connsiteY3" fmla="*/ 0 h 257442"/>
                <a:gd name="connsiteX0" fmla="*/ 2460831 w 2460831"/>
                <a:gd name="connsiteY0" fmla="*/ 0 h 257442"/>
                <a:gd name="connsiteX1" fmla="*/ 2245810 w 2460831"/>
                <a:gd name="connsiteY1" fmla="*/ 257442 h 257442"/>
                <a:gd name="connsiteX2" fmla="*/ 1 w 2460831"/>
                <a:gd name="connsiteY2" fmla="*/ 257442 h 257442"/>
                <a:gd name="connsiteX3" fmla="*/ 0 w 2460831"/>
                <a:gd name="connsiteY3" fmla="*/ 0 h 257442"/>
                <a:gd name="connsiteX0" fmla="*/ 2460831 w 2460831"/>
                <a:gd name="connsiteY0" fmla="*/ 0 h 257442"/>
                <a:gd name="connsiteX1" fmla="*/ 2406110 w 2460831"/>
                <a:gd name="connsiteY1" fmla="*/ 257442 h 257442"/>
                <a:gd name="connsiteX2" fmla="*/ 1 w 2460831"/>
                <a:gd name="connsiteY2" fmla="*/ 257442 h 257442"/>
                <a:gd name="connsiteX3" fmla="*/ 0 w 2460831"/>
                <a:gd name="connsiteY3" fmla="*/ 0 h 257442"/>
                <a:gd name="connsiteX0" fmla="*/ 2460831 w 2460831"/>
                <a:gd name="connsiteY0" fmla="*/ 0 h 257442"/>
                <a:gd name="connsiteX1" fmla="*/ 2406110 w 2460831"/>
                <a:gd name="connsiteY1" fmla="*/ 257442 h 257442"/>
                <a:gd name="connsiteX2" fmla="*/ 1 w 2460831"/>
                <a:gd name="connsiteY2" fmla="*/ 257442 h 257442"/>
                <a:gd name="connsiteX3" fmla="*/ 0 w 2460831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0 w 2460830"/>
                <a:gd name="connsiteY3" fmla="*/ 0 h 257442"/>
                <a:gd name="connsiteX0" fmla="*/ 2621129 w 2621129"/>
                <a:gd name="connsiteY0" fmla="*/ 0 h 257442"/>
                <a:gd name="connsiteX1" fmla="*/ 2406109 w 2621129"/>
                <a:gd name="connsiteY1" fmla="*/ 257442 h 257442"/>
                <a:gd name="connsiteX2" fmla="*/ 0 w 2621129"/>
                <a:gd name="connsiteY2" fmla="*/ 257442 h 257442"/>
                <a:gd name="connsiteX3" fmla="*/ 0 w 2621129"/>
                <a:gd name="connsiteY3" fmla="*/ 0 h 257442"/>
                <a:gd name="connsiteX0" fmla="*/ 2621129 w 2621129"/>
                <a:gd name="connsiteY0" fmla="*/ 0 h 257442"/>
                <a:gd name="connsiteX1" fmla="*/ 2566408 w 2621129"/>
                <a:gd name="connsiteY1" fmla="*/ 257442 h 257442"/>
                <a:gd name="connsiteX2" fmla="*/ 0 w 2621129"/>
                <a:gd name="connsiteY2" fmla="*/ 257442 h 257442"/>
                <a:gd name="connsiteX3" fmla="*/ 0 w 2621129"/>
                <a:gd name="connsiteY3" fmla="*/ 0 h 257442"/>
                <a:gd name="connsiteX0" fmla="*/ 2621130 w 2621130"/>
                <a:gd name="connsiteY0" fmla="*/ 0 h 257442"/>
                <a:gd name="connsiteX1" fmla="*/ 2566409 w 2621130"/>
                <a:gd name="connsiteY1" fmla="*/ 257442 h 257442"/>
                <a:gd name="connsiteX2" fmla="*/ 0 w 2621130"/>
                <a:gd name="connsiteY2" fmla="*/ 257442 h 257442"/>
                <a:gd name="connsiteX3" fmla="*/ 1 w 2621130"/>
                <a:gd name="connsiteY3" fmla="*/ 0 h 257442"/>
                <a:gd name="connsiteX0" fmla="*/ 2621130 w 2621130"/>
                <a:gd name="connsiteY0" fmla="*/ 0 h 257442"/>
                <a:gd name="connsiteX1" fmla="*/ 2566409 w 2621130"/>
                <a:gd name="connsiteY1" fmla="*/ 257442 h 257442"/>
                <a:gd name="connsiteX2" fmla="*/ 0 w 2621130"/>
                <a:gd name="connsiteY2" fmla="*/ 257442 h 257442"/>
                <a:gd name="connsiteX3" fmla="*/ 0 w 2621130"/>
                <a:gd name="connsiteY3" fmla="*/ 0 h 257442"/>
                <a:gd name="connsiteX0" fmla="*/ 1540706 w 2566409"/>
                <a:gd name="connsiteY0" fmla="*/ 0 h 257442"/>
                <a:gd name="connsiteX1" fmla="*/ 2566409 w 2566409"/>
                <a:gd name="connsiteY1" fmla="*/ 257442 h 257442"/>
                <a:gd name="connsiteX2" fmla="*/ 0 w 2566409"/>
                <a:gd name="connsiteY2" fmla="*/ 257442 h 257442"/>
                <a:gd name="connsiteX3" fmla="*/ 0 w 2566409"/>
                <a:gd name="connsiteY3" fmla="*/ 0 h 257442"/>
                <a:gd name="connsiteX0" fmla="*/ 1540706 w 1540706"/>
                <a:gd name="connsiteY0" fmla="*/ 0 h 257442"/>
                <a:gd name="connsiteX1" fmla="*/ 1485986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540706 w 1540706"/>
                <a:gd name="connsiteY0" fmla="*/ 0 h 257442"/>
                <a:gd name="connsiteX1" fmla="*/ 1485986 w 1540706"/>
                <a:gd name="connsiteY1" fmla="*/ 257442 h 257442"/>
                <a:gd name="connsiteX2" fmla="*/ 1 w 1540706"/>
                <a:gd name="connsiteY2" fmla="*/ 257442 h 257442"/>
                <a:gd name="connsiteX3" fmla="*/ 0 w 1540706"/>
                <a:gd name="connsiteY3" fmla="*/ 0 h 257442"/>
                <a:gd name="connsiteX0" fmla="*/ 1540705 w 1540705"/>
                <a:gd name="connsiteY0" fmla="*/ 0 h 257442"/>
                <a:gd name="connsiteX1" fmla="*/ 1485985 w 1540705"/>
                <a:gd name="connsiteY1" fmla="*/ 257442 h 257442"/>
                <a:gd name="connsiteX2" fmla="*/ 0 w 1540705"/>
                <a:gd name="connsiteY2" fmla="*/ 257442 h 257442"/>
                <a:gd name="connsiteX3" fmla="*/ 0 w 1540705"/>
                <a:gd name="connsiteY3" fmla="*/ 0 h 257442"/>
                <a:gd name="connsiteX0" fmla="*/ 1701007 w 1701007"/>
                <a:gd name="connsiteY0" fmla="*/ 0 h 257442"/>
                <a:gd name="connsiteX1" fmla="*/ 1485985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869321 w 1869321"/>
                <a:gd name="connsiteY0" fmla="*/ 0 h 257442"/>
                <a:gd name="connsiteX1" fmla="*/ 1646286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2055270 w 2055270"/>
                <a:gd name="connsiteY0" fmla="*/ 0 h 257442"/>
                <a:gd name="connsiteX1" fmla="*/ 1814600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0 w 2055270"/>
                <a:gd name="connsiteY0" fmla="*/ 0 h 257442"/>
                <a:gd name="connsiteX1" fmla="*/ 2000548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3912254 w 3912254"/>
                <a:gd name="connsiteY0" fmla="*/ 0 h 257442"/>
                <a:gd name="connsiteX1" fmla="*/ 2000549 w 3912254"/>
                <a:gd name="connsiteY1" fmla="*/ 257442 h 257442"/>
                <a:gd name="connsiteX2" fmla="*/ 0 w 3912254"/>
                <a:gd name="connsiteY2" fmla="*/ 257442 h 257442"/>
                <a:gd name="connsiteX3" fmla="*/ 1 w 3912254"/>
                <a:gd name="connsiteY3" fmla="*/ 0 h 257442"/>
                <a:gd name="connsiteX0" fmla="*/ 3912254 w 3912254"/>
                <a:gd name="connsiteY0" fmla="*/ 0 h 257442"/>
                <a:gd name="connsiteX1" fmla="*/ 3857532 w 3912254"/>
                <a:gd name="connsiteY1" fmla="*/ 257442 h 257442"/>
                <a:gd name="connsiteX2" fmla="*/ 0 w 3912254"/>
                <a:gd name="connsiteY2" fmla="*/ 257442 h 257442"/>
                <a:gd name="connsiteX3" fmla="*/ 1 w 3912254"/>
                <a:gd name="connsiteY3" fmla="*/ 0 h 257442"/>
                <a:gd name="connsiteX0" fmla="*/ 3912254 w 3912254"/>
                <a:gd name="connsiteY0" fmla="*/ 0 h 257442"/>
                <a:gd name="connsiteX1" fmla="*/ 3857532 w 3912254"/>
                <a:gd name="connsiteY1" fmla="*/ 257442 h 257442"/>
                <a:gd name="connsiteX2" fmla="*/ 0 w 3912254"/>
                <a:gd name="connsiteY2" fmla="*/ 257442 h 257442"/>
                <a:gd name="connsiteX3" fmla="*/ 1 w 3912254"/>
                <a:gd name="connsiteY3" fmla="*/ 0 h 257442"/>
                <a:gd name="connsiteX0" fmla="*/ 3912254 w 3912254"/>
                <a:gd name="connsiteY0" fmla="*/ 0 h 257442"/>
                <a:gd name="connsiteX1" fmla="*/ 3857532 w 3912254"/>
                <a:gd name="connsiteY1" fmla="*/ 257442 h 257442"/>
                <a:gd name="connsiteX2" fmla="*/ 0 w 3912254"/>
                <a:gd name="connsiteY2" fmla="*/ 257442 h 257442"/>
                <a:gd name="connsiteX3" fmla="*/ 0 w 3912254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12254" h="257442">
                  <a:moveTo>
                    <a:pt x="3912254" y="0"/>
                  </a:moveTo>
                  <a:lnTo>
                    <a:pt x="3857532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3" name="btfpRunningAgenda2LevelTextLeft116644">
              <a:extLst>
                <a:ext uri="{FF2B5EF4-FFF2-40B4-BE49-F238E27FC236}">
                  <a16:creationId xmlns:a16="http://schemas.microsoft.com/office/drawing/2014/main" id="{1D98CCDE-A3D4-44AF-A3C7-1031EB41D4EC}"/>
                </a:ext>
              </a:extLst>
            </p:cNvPr>
            <p:cNvSpPr txBox="1"/>
            <p:nvPr/>
          </p:nvSpPr>
          <p:spPr bwMode="gray">
            <a:xfrm>
              <a:off x="0" y="876300"/>
              <a:ext cx="385753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FFFFFF"/>
                  </a:solidFill>
                </a:rPr>
                <a:t>R&amp;D team and process</a:t>
              </a:r>
            </a:p>
          </p:txBody>
        </p:sp>
        <p:sp>
          <p:nvSpPr>
            <p:cNvPr id="6" name="btfpRunningAgenda2LevelBarRight116644">
              <a:extLst>
                <a:ext uri="{FF2B5EF4-FFF2-40B4-BE49-F238E27FC236}">
                  <a16:creationId xmlns:a16="http://schemas.microsoft.com/office/drawing/2014/main" id="{F5624B39-1721-4556-BB49-FA5010004102}"/>
                </a:ext>
              </a:extLst>
            </p:cNvPr>
            <p:cNvSpPr/>
            <p:nvPr/>
          </p:nvSpPr>
          <p:spPr bwMode="gray">
            <a:xfrm>
              <a:off x="3777410" y="876300"/>
              <a:ext cx="4973889" cy="257442"/>
            </a:xfrm>
            <a:custGeom>
              <a:avLst/>
              <a:gdLst>
                <a:gd name="connsiteX0" fmla="*/ 93477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34771 w 2313135"/>
                <a:gd name="connsiteY0" fmla="*/ 0 h 257442"/>
                <a:gd name="connsiteX1" fmla="*/ 88005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257442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1 w 934770"/>
                <a:gd name="connsiteY3" fmla="*/ 0 h 257442"/>
                <a:gd name="connsiteX0" fmla="*/ 1095069 w 1095069"/>
                <a:gd name="connsiteY0" fmla="*/ 0 h 257442"/>
                <a:gd name="connsiteX1" fmla="*/ 880049 w 1095069"/>
                <a:gd name="connsiteY1" fmla="*/ 257442 h 257442"/>
                <a:gd name="connsiteX2" fmla="*/ 0 w 1095069"/>
                <a:gd name="connsiteY2" fmla="*/ 257442 h 257442"/>
                <a:gd name="connsiteX3" fmla="*/ 54721 w 1095069"/>
                <a:gd name="connsiteY3" fmla="*/ 0 h 257442"/>
                <a:gd name="connsiteX0" fmla="*/ 1095069 w 1095069"/>
                <a:gd name="connsiteY0" fmla="*/ 0 h 257442"/>
                <a:gd name="connsiteX1" fmla="*/ 1040349 w 1095069"/>
                <a:gd name="connsiteY1" fmla="*/ 257442 h 257442"/>
                <a:gd name="connsiteX2" fmla="*/ 0 w 1095069"/>
                <a:gd name="connsiteY2" fmla="*/ 257442 h 257442"/>
                <a:gd name="connsiteX3" fmla="*/ 54721 w 1095069"/>
                <a:gd name="connsiteY3" fmla="*/ 0 h 257442"/>
                <a:gd name="connsiteX0" fmla="*/ 1095070 w 1095070"/>
                <a:gd name="connsiteY0" fmla="*/ 0 h 257442"/>
                <a:gd name="connsiteX1" fmla="*/ 1040350 w 1095070"/>
                <a:gd name="connsiteY1" fmla="*/ 257442 h 257442"/>
                <a:gd name="connsiteX2" fmla="*/ 0 w 1095070"/>
                <a:gd name="connsiteY2" fmla="*/ 257442 h 257442"/>
                <a:gd name="connsiteX3" fmla="*/ 54722 w 1095070"/>
                <a:gd name="connsiteY3" fmla="*/ 0 h 257442"/>
                <a:gd name="connsiteX0" fmla="*/ 1095070 w 1095070"/>
                <a:gd name="connsiteY0" fmla="*/ 0 h 257442"/>
                <a:gd name="connsiteX1" fmla="*/ 1040350 w 1095070"/>
                <a:gd name="connsiteY1" fmla="*/ 257442 h 257442"/>
                <a:gd name="connsiteX2" fmla="*/ 0 w 1095070"/>
                <a:gd name="connsiteY2" fmla="*/ 257442 h 257442"/>
                <a:gd name="connsiteX3" fmla="*/ 54721 w 1095070"/>
                <a:gd name="connsiteY3" fmla="*/ 0 h 257442"/>
                <a:gd name="connsiteX0" fmla="*/ 1263386 w 1263386"/>
                <a:gd name="connsiteY0" fmla="*/ 0 h 257442"/>
                <a:gd name="connsiteX1" fmla="*/ 1040350 w 1263386"/>
                <a:gd name="connsiteY1" fmla="*/ 257442 h 257442"/>
                <a:gd name="connsiteX2" fmla="*/ 0 w 1263386"/>
                <a:gd name="connsiteY2" fmla="*/ 257442 h 257442"/>
                <a:gd name="connsiteX3" fmla="*/ 54721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54721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54721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0 w 1263386"/>
                <a:gd name="connsiteY2" fmla="*/ 257442 h 257442"/>
                <a:gd name="connsiteX3" fmla="*/ 54721 w 1263386"/>
                <a:gd name="connsiteY3" fmla="*/ 0 h 257442"/>
                <a:gd name="connsiteX0" fmla="*/ 1431702 w 1431702"/>
                <a:gd name="connsiteY0" fmla="*/ 0 h 257442"/>
                <a:gd name="connsiteX1" fmla="*/ 1208665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431702 w 1431702"/>
                <a:gd name="connsiteY0" fmla="*/ 0 h 257442"/>
                <a:gd name="connsiteX1" fmla="*/ 1376981 w 1431702"/>
                <a:gd name="connsiteY1" fmla="*/ 257442 h 257442"/>
                <a:gd name="connsiteX2" fmla="*/ 0 w 1431702"/>
                <a:gd name="connsiteY2" fmla="*/ 257442 h 257442"/>
                <a:gd name="connsiteX3" fmla="*/ 54721 w 1431702"/>
                <a:gd name="connsiteY3" fmla="*/ 0 h 257442"/>
                <a:gd name="connsiteX0" fmla="*/ 1600017 w 1600017"/>
                <a:gd name="connsiteY0" fmla="*/ 0 h 257442"/>
                <a:gd name="connsiteX1" fmla="*/ 1376981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600017 w 1600017"/>
                <a:gd name="connsiteY0" fmla="*/ 0 h 257442"/>
                <a:gd name="connsiteX1" fmla="*/ 1545296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600017 w 1600017"/>
                <a:gd name="connsiteY0" fmla="*/ 0 h 257442"/>
                <a:gd name="connsiteX1" fmla="*/ 1545296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600017 w 1600017"/>
                <a:gd name="connsiteY0" fmla="*/ 0 h 257442"/>
                <a:gd name="connsiteX1" fmla="*/ 1545296 w 1600017"/>
                <a:gd name="connsiteY1" fmla="*/ 257442 h 257442"/>
                <a:gd name="connsiteX2" fmla="*/ 0 w 1600017"/>
                <a:gd name="connsiteY2" fmla="*/ 257442 h 257442"/>
                <a:gd name="connsiteX3" fmla="*/ 54721 w 1600017"/>
                <a:gd name="connsiteY3" fmla="*/ 0 h 257442"/>
                <a:gd name="connsiteX0" fmla="*/ 1760317 w 1760317"/>
                <a:gd name="connsiteY0" fmla="*/ 0 h 257442"/>
                <a:gd name="connsiteX1" fmla="*/ 1545296 w 1760317"/>
                <a:gd name="connsiteY1" fmla="*/ 257442 h 257442"/>
                <a:gd name="connsiteX2" fmla="*/ 0 w 1760317"/>
                <a:gd name="connsiteY2" fmla="*/ 257442 h 257442"/>
                <a:gd name="connsiteX3" fmla="*/ 54721 w 1760317"/>
                <a:gd name="connsiteY3" fmla="*/ 0 h 257442"/>
                <a:gd name="connsiteX0" fmla="*/ 1760317 w 1760317"/>
                <a:gd name="connsiteY0" fmla="*/ 0 h 257442"/>
                <a:gd name="connsiteX1" fmla="*/ 1705596 w 1760317"/>
                <a:gd name="connsiteY1" fmla="*/ 257442 h 257442"/>
                <a:gd name="connsiteX2" fmla="*/ 0 w 1760317"/>
                <a:gd name="connsiteY2" fmla="*/ 257442 h 257442"/>
                <a:gd name="connsiteX3" fmla="*/ 54721 w 1760317"/>
                <a:gd name="connsiteY3" fmla="*/ 0 h 257442"/>
                <a:gd name="connsiteX0" fmla="*/ 1760317 w 1760317"/>
                <a:gd name="connsiteY0" fmla="*/ 0 h 257442"/>
                <a:gd name="connsiteX1" fmla="*/ 1705596 w 1760317"/>
                <a:gd name="connsiteY1" fmla="*/ 257442 h 257442"/>
                <a:gd name="connsiteX2" fmla="*/ 0 w 1760317"/>
                <a:gd name="connsiteY2" fmla="*/ 257442 h 257442"/>
                <a:gd name="connsiteX3" fmla="*/ 54721 w 1760317"/>
                <a:gd name="connsiteY3" fmla="*/ 0 h 257442"/>
                <a:gd name="connsiteX0" fmla="*/ 1760317 w 1760317"/>
                <a:gd name="connsiteY0" fmla="*/ 0 h 257442"/>
                <a:gd name="connsiteX1" fmla="*/ 1705596 w 1760317"/>
                <a:gd name="connsiteY1" fmla="*/ 257442 h 257442"/>
                <a:gd name="connsiteX2" fmla="*/ 0 w 1760317"/>
                <a:gd name="connsiteY2" fmla="*/ 257442 h 257442"/>
                <a:gd name="connsiteX3" fmla="*/ 54721 w 1760317"/>
                <a:gd name="connsiteY3" fmla="*/ 0 h 257442"/>
                <a:gd name="connsiteX0" fmla="*/ 2023914 w 2023914"/>
                <a:gd name="connsiteY0" fmla="*/ 0 h 257442"/>
                <a:gd name="connsiteX1" fmla="*/ 1705596 w 2023914"/>
                <a:gd name="connsiteY1" fmla="*/ 257442 h 257442"/>
                <a:gd name="connsiteX2" fmla="*/ 0 w 2023914"/>
                <a:gd name="connsiteY2" fmla="*/ 257442 h 257442"/>
                <a:gd name="connsiteX3" fmla="*/ 54721 w 2023914"/>
                <a:gd name="connsiteY3" fmla="*/ 0 h 257442"/>
                <a:gd name="connsiteX0" fmla="*/ 2023914 w 2023914"/>
                <a:gd name="connsiteY0" fmla="*/ 0 h 257442"/>
                <a:gd name="connsiteX1" fmla="*/ 1969193 w 2023914"/>
                <a:gd name="connsiteY1" fmla="*/ 257442 h 257442"/>
                <a:gd name="connsiteX2" fmla="*/ 0 w 2023914"/>
                <a:gd name="connsiteY2" fmla="*/ 257442 h 257442"/>
                <a:gd name="connsiteX3" fmla="*/ 54721 w 2023914"/>
                <a:gd name="connsiteY3" fmla="*/ 0 h 257442"/>
                <a:gd name="connsiteX0" fmla="*/ 2023915 w 2023915"/>
                <a:gd name="connsiteY0" fmla="*/ 0 h 257442"/>
                <a:gd name="connsiteX1" fmla="*/ 1969194 w 2023915"/>
                <a:gd name="connsiteY1" fmla="*/ 257442 h 257442"/>
                <a:gd name="connsiteX2" fmla="*/ 0 w 2023915"/>
                <a:gd name="connsiteY2" fmla="*/ 257442 h 257442"/>
                <a:gd name="connsiteX3" fmla="*/ 54722 w 2023915"/>
                <a:gd name="connsiteY3" fmla="*/ 0 h 257442"/>
                <a:gd name="connsiteX0" fmla="*/ 2023915 w 2023915"/>
                <a:gd name="connsiteY0" fmla="*/ 0 h 257442"/>
                <a:gd name="connsiteX1" fmla="*/ 1969194 w 2023915"/>
                <a:gd name="connsiteY1" fmla="*/ 257442 h 257442"/>
                <a:gd name="connsiteX2" fmla="*/ 0 w 2023915"/>
                <a:gd name="connsiteY2" fmla="*/ 257442 h 257442"/>
                <a:gd name="connsiteX3" fmla="*/ 54722 w 2023915"/>
                <a:gd name="connsiteY3" fmla="*/ 0 h 257442"/>
                <a:gd name="connsiteX0" fmla="*/ 2192231 w 2192231"/>
                <a:gd name="connsiteY0" fmla="*/ 0 h 257442"/>
                <a:gd name="connsiteX1" fmla="*/ 1969194 w 2192231"/>
                <a:gd name="connsiteY1" fmla="*/ 257442 h 257442"/>
                <a:gd name="connsiteX2" fmla="*/ 0 w 2192231"/>
                <a:gd name="connsiteY2" fmla="*/ 257442 h 257442"/>
                <a:gd name="connsiteX3" fmla="*/ 54722 w 2192231"/>
                <a:gd name="connsiteY3" fmla="*/ 0 h 257442"/>
                <a:gd name="connsiteX0" fmla="*/ 2192231 w 2192231"/>
                <a:gd name="connsiteY0" fmla="*/ 0 h 257442"/>
                <a:gd name="connsiteX1" fmla="*/ 2137510 w 2192231"/>
                <a:gd name="connsiteY1" fmla="*/ 257442 h 257442"/>
                <a:gd name="connsiteX2" fmla="*/ 0 w 2192231"/>
                <a:gd name="connsiteY2" fmla="*/ 257442 h 257442"/>
                <a:gd name="connsiteX3" fmla="*/ 54722 w 2192231"/>
                <a:gd name="connsiteY3" fmla="*/ 0 h 257442"/>
                <a:gd name="connsiteX0" fmla="*/ 2192230 w 2192230"/>
                <a:gd name="connsiteY0" fmla="*/ 0 h 257442"/>
                <a:gd name="connsiteX1" fmla="*/ 2137509 w 2192230"/>
                <a:gd name="connsiteY1" fmla="*/ 257442 h 257442"/>
                <a:gd name="connsiteX2" fmla="*/ 0 w 2192230"/>
                <a:gd name="connsiteY2" fmla="*/ 257442 h 257442"/>
                <a:gd name="connsiteX3" fmla="*/ 54721 w 2192230"/>
                <a:gd name="connsiteY3" fmla="*/ 0 h 257442"/>
                <a:gd name="connsiteX0" fmla="*/ 2192230 w 2192230"/>
                <a:gd name="connsiteY0" fmla="*/ 0 h 257442"/>
                <a:gd name="connsiteX1" fmla="*/ 2137509 w 2192230"/>
                <a:gd name="connsiteY1" fmla="*/ 257442 h 257442"/>
                <a:gd name="connsiteX2" fmla="*/ 0 w 2192230"/>
                <a:gd name="connsiteY2" fmla="*/ 257442 h 257442"/>
                <a:gd name="connsiteX3" fmla="*/ 54720 w 2192230"/>
                <a:gd name="connsiteY3" fmla="*/ 0 h 257442"/>
                <a:gd name="connsiteX0" fmla="*/ 2360545 w 2360545"/>
                <a:gd name="connsiteY0" fmla="*/ 0 h 257442"/>
                <a:gd name="connsiteX1" fmla="*/ 2137509 w 2360545"/>
                <a:gd name="connsiteY1" fmla="*/ 257442 h 257442"/>
                <a:gd name="connsiteX2" fmla="*/ 0 w 2360545"/>
                <a:gd name="connsiteY2" fmla="*/ 257442 h 257442"/>
                <a:gd name="connsiteX3" fmla="*/ 54720 w 2360545"/>
                <a:gd name="connsiteY3" fmla="*/ 0 h 257442"/>
                <a:gd name="connsiteX0" fmla="*/ 2360545 w 2360545"/>
                <a:gd name="connsiteY0" fmla="*/ 0 h 257442"/>
                <a:gd name="connsiteX1" fmla="*/ 2305824 w 2360545"/>
                <a:gd name="connsiteY1" fmla="*/ 257442 h 257442"/>
                <a:gd name="connsiteX2" fmla="*/ 0 w 2360545"/>
                <a:gd name="connsiteY2" fmla="*/ 257442 h 257442"/>
                <a:gd name="connsiteX3" fmla="*/ 54720 w 2360545"/>
                <a:gd name="connsiteY3" fmla="*/ 0 h 257442"/>
                <a:gd name="connsiteX0" fmla="*/ 2360546 w 2360546"/>
                <a:gd name="connsiteY0" fmla="*/ 0 h 257442"/>
                <a:gd name="connsiteX1" fmla="*/ 2305825 w 2360546"/>
                <a:gd name="connsiteY1" fmla="*/ 257442 h 257442"/>
                <a:gd name="connsiteX2" fmla="*/ 0 w 2360546"/>
                <a:gd name="connsiteY2" fmla="*/ 257442 h 257442"/>
                <a:gd name="connsiteX3" fmla="*/ 54721 w 2360546"/>
                <a:gd name="connsiteY3" fmla="*/ 0 h 257442"/>
                <a:gd name="connsiteX0" fmla="*/ 2360546 w 2360546"/>
                <a:gd name="connsiteY0" fmla="*/ 0 h 257442"/>
                <a:gd name="connsiteX1" fmla="*/ 2305825 w 2360546"/>
                <a:gd name="connsiteY1" fmla="*/ 257442 h 257442"/>
                <a:gd name="connsiteX2" fmla="*/ 0 w 2360546"/>
                <a:gd name="connsiteY2" fmla="*/ 257442 h 257442"/>
                <a:gd name="connsiteX3" fmla="*/ 54721 w 2360546"/>
                <a:gd name="connsiteY3" fmla="*/ 0 h 257442"/>
                <a:gd name="connsiteX0" fmla="*/ 2659025 w 2659025"/>
                <a:gd name="connsiteY0" fmla="*/ 0 h 257442"/>
                <a:gd name="connsiteX1" fmla="*/ 2305825 w 2659025"/>
                <a:gd name="connsiteY1" fmla="*/ 257442 h 257442"/>
                <a:gd name="connsiteX2" fmla="*/ 0 w 2659025"/>
                <a:gd name="connsiteY2" fmla="*/ 257442 h 257442"/>
                <a:gd name="connsiteX3" fmla="*/ 54721 w 2659025"/>
                <a:gd name="connsiteY3" fmla="*/ 0 h 257442"/>
                <a:gd name="connsiteX0" fmla="*/ 2659025 w 2659025"/>
                <a:gd name="connsiteY0" fmla="*/ 0 h 257442"/>
                <a:gd name="connsiteX1" fmla="*/ 2604304 w 2659025"/>
                <a:gd name="connsiteY1" fmla="*/ 257442 h 257442"/>
                <a:gd name="connsiteX2" fmla="*/ 0 w 2659025"/>
                <a:gd name="connsiteY2" fmla="*/ 257442 h 257442"/>
                <a:gd name="connsiteX3" fmla="*/ 54721 w 2659025"/>
                <a:gd name="connsiteY3" fmla="*/ 0 h 257442"/>
                <a:gd name="connsiteX0" fmla="*/ 2659025 w 2659025"/>
                <a:gd name="connsiteY0" fmla="*/ 0 h 257442"/>
                <a:gd name="connsiteX1" fmla="*/ 2604304 w 2659025"/>
                <a:gd name="connsiteY1" fmla="*/ 257442 h 257442"/>
                <a:gd name="connsiteX2" fmla="*/ 0 w 2659025"/>
                <a:gd name="connsiteY2" fmla="*/ 257442 h 257442"/>
                <a:gd name="connsiteX3" fmla="*/ 54721 w 2659025"/>
                <a:gd name="connsiteY3" fmla="*/ 0 h 257442"/>
                <a:gd name="connsiteX0" fmla="*/ 2659025 w 2659025"/>
                <a:gd name="connsiteY0" fmla="*/ 0 h 257442"/>
                <a:gd name="connsiteX1" fmla="*/ 2604304 w 2659025"/>
                <a:gd name="connsiteY1" fmla="*/ 257442 h 257442"/>
                <a:gd name="connsiteX2" fmla="*/ 0 w 2659025"/>
                <a:gd name="connsiteY2" fmla="*/ 257442 h 257442"/>
                <a:gd name="connsiteX3" fmla="*/ 54721 w 2659025"/>
                <a:gd name="connsiteY3" fmla="*/ 0 h 257442"/>
                <a:gd name="connsiteX0" fmla="*/ 2819325 w 2819325"/>
                <a:gd name="connsiteY0" fmla="*/ 0 h 257442"/>
                <a:gd name="connsiteX1" fmla="*/ 2604304 w 2819325"/>
                <a:gd name="connsiteY1" fmla="*/ 257442 h 257442"/>
                <a:gd name="connsiteX2" fmla="*/ 0 w 2819325"/>
                <a:gd name="connsiteY2" fmla="*/ 257442 h 257442"/>
                <a:gd name="connsiteX3" fmla="*/ 54721 w 2819325"/>
                <a:gd name="connsiteY3" fmla="*/ 0 h 257442"/>
                <a:gd name="connsiteX0" fmla="*/ 2819325 w 2819325"/>
                <a:gd name="connsiteY0" fmla="*/ 0 h 257442"/>
                <a:gd name="connsiteX1" fmla="*/ 2764604 w 2819325"/>
                <a:gd name="connsiteY1" fmla="*/ 257442 h 257442"/>
                <a:gd name="connsiteX2" fmla="*/ 0 w 2819325"/>
                <a:gd name="connsiteY2" fmla="*/ 257442 h 257442"/>
                <a:gd name="connsiteX3" fmla="*/ 54721 w 2819325"/>
                <a:gd name="connsiteY3" fmla="*/ 0 h 257442"/>
                <a:gd name="connsiteX0" fmla="*/ 2819325 w 2819325"/>
                <a:gd name="connsiteY0" fmla="*/ 0 h 257442"/>
                <a:gd name="connsiteX1" fmla="*/ 2764604 w 2819325"/>
                <a:gd name="connsiteY1" fmla="*/ 257442 h 257442"/>
                <a:gd name="connsiteX2" fmla="*/ 0 w 2819325"/>
                <a:gd name="connsiteY2" fmla="*/ 257442 h 257442"/>
                <a:gd name="connsiteX3" fmla="*/ 54721 w 2819325"/>
                <a:gd name="connsiteY3" fmla="*/ 0 h 257442"/>
                <a:gd name="connsiteX0" fmla="*/ 2819325 w 2819325"/>
                <a:gd name="connsiteY0" fmla="*/ 0 h 257442"/>
                <a:gd name="connsiteX1" fmla="*/ 2764604 w 2819325"/>
                <a:gd name="connsiteY1" fmla="*/ 257442 h 257442"/>
                <a:gd name="connsiteX2" fmla="*/ 0 w 2819325"/>
                <a:gd name="connsiteY2" fmla="*/ 257442 h 257442"/>
                <a:gd name="connsiteX3" fmla="*/ 54721 w 2819325"/>
                <a:gd name="connsiteY3" fmla="*/ 0 h 257442"/>
                <a:gd name="connsiteX0" fmla="*/ 3080615 w 3080615"/>
                <a:gd name="connsiteY0" fmla="*/ 0 h 257442"/>
                <a:gd name="connsiteX1" fmla="*/ 2764604 w 3080615"/>
                <a:gd name="connsiteY1" fmla="*/ 257442 h 257442"/>
                <a:gd name="connsiteX2" fmla="*/ 0 w 3080615"/>
                <a:gd name="connsiteY2" fmla="*/ 257442 h 257442"/>
                <a:gd name="connsiteX3" fmla="*/ 54721 w 3080615"/>
                <a:gd name="connsiteY3" fmla="*/ 0 h 257442"/>
                <a:gd name="connsiteX0" fmla="*/ 3080615 w 3080615"/>
                <a:gd name="connsiteY0" fmla="*/ 0 h 257442"/>
                <a:gd name="connsiteX1" fmla="*/ 3025894 w 3080615"/>
                <a:gd name="connsiteY1" fmla="*/ 257442 h 257442"/>
                <a:gd name="connsiteX2" fmla="*/ 0 w 3080615"/>
                <a:gd name="connsiteY2" fmla="*/ 257442 h 257442"/>
                <a:gd name="connsiteX3" fmla="*/ 54721 w 3080615"/>
                <a:gd name="connsiteY3" fmla="*/ 0 h 257442"/>
                <a:gd name="connsiteX0" fmla="*/ 3080615 w 3080615"/>
                <a:gd name="connsiteY0" fmla="*/ 0 h 257442"/>
                <a:gd name="connsiteX1" fmla="*/ 3025894 w 3080615"/>
                <a:gd name="connsiteY1" fmla="*/ 257442 h 257442"/>
                <a:gd name="connsiteX2" fmla="*/ 0 w 3080615"/>
                <a:gd name="connsiteY2" fmla="*/ 257442 h 257442"/>
                <a:gd name="connsiteX3" fmla="*/ 54721 w 3080615"/>
                <a:gd name="connsiteY3" fmla="*/ 0 h 257442"/>
                <a:gd name="connsiteX0" fmla="*/ 3080615 w 3080615"/>
                <a:gd name="connsiteY0" fmla="*/ 0 h 257442"/>
                <a:gd name="connsiteX1" fmla="*/ 3025894 w 3080615"/>
                <a:gd name="connsiteY1" fmla="*/ 257442 h 257442"/>
                <a:gd name="connsiteX2" fmla="*/ 0 w 3080615"/>
                <a:gd name="connsiteY2" fmla="*/ 257442 h 257442"/>
                <a:gd name="connsiteX3" fmla="*/ 54721 w 3080615"/>
                <a:gd name="connsiteY3" fmla="*/ 0 h 257442"/>
                <a:gd name="connsiteX0" fmla="*/ 960419 w 3025894"/>
                <a:gd name="connsiteY0" fmla="*/ 0 h 257442"/>
                <a:gd name="connsiteX1" fmla="*/ 3025894 w 3025894"/>
                <a:gd name="connsiteY1" fmla="*/ 257442 h 257442"/>
                <a:gd name="connsiteX2" fmla="*/ 0 w 3025894"/>
                <a:gd name="connsiteY2" fmla="*/ 257442 h 257442"/>
                <a:gd name="connsiteX3" fmla="*/ 54721 w 3025894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960418 w 960418"/>
                <a:gd name="connsiteY0" fmla="*/ 0 h 257442"/>
                <a:gd name="connsiteX1" fmla="*/ 905697 w 960418"/>
                <a:gd name="connsiteY1" fmla="*/ 257442 h 257442"/>
                <a:gd name="connsiteX2" fmla="*/ 0 w 960418"/>
                <a:gd name="connsiteY2" fmla="*/ 257442 h 257442"/>
                <a:gd name="connsiteX3" fmla="*/ 54720 w 960418"/>
                <a:gd name="connsiteY3" fmla="*/ 0 h 257442"/>
                <a:gd name="connsiteX0" fmla="*/ 960418 w 960418"/>
                <a:gd name="connsiteY0" fmla="*/ 0 h 257442"/>
                <a:gd name="connsiteX1" fmla="*/ 905697 w 960418"/>
                <a:gd name="connsiteY1" fmla="*/ 257442 h 257442"/>
                <a:gd name="connsiteX2" fmla="*/ 0 w 960418"/>
                <a:gd name="connsiteY2" fmla="*/ 257442 h 257442"/>
                <a:gd name="connsiteX3" fmla="*/ 54720 w 960418"/>
                <a:gd name="connsiteY3" fmla="*/ 0 h 257442"/>
                <a:gd name="connsiteX0" fmla="*/ 1120717 w 1120717"/>
                <a:gd name="connsiteY0" fmla="*/ 0 h 257442"/>
                <a:gd name="connsiteX1" fmla="*/ 905697 w 1120717"/>
                <a:gd name="connsiteY1" fmla="*/ 257442 h 257442"/>
                <a:gd name="connsiteX2" fmla="*/ 0 w 1120717"/>
                <a:gd name="connsiteY2" fmla="*/ 257442 h 257442"/>
                <a:gd name="connsiteX3" fmla="*/ 54720 w 1120717"/>
                <a:gd name="connsiteY3" fmla="*/ 0 h 257442"/>
                <a:gd name="connsiteX0" fmla="*/ 1120717 w 1120717"/>
                <a:gd name="connsiteY0" fmla="*/ 0 h 257442"/>
                <a:gd name="connsiteX1" fmla="*/ 1065997 w 1120717"/>
                <a:gd name="connsiteY1" fmla="*/ 257442 h 257442"/>
                <a:gd name="connsiteX2" fmla="*/ 0 w 1120717"/>
                <a:gd name="connsiteY2" fmla="*/ 257442 h 257442"/>
                <a:gd name="connsiteX3" fmla="*/ 54720 w 1120717"/>
                <a:gd name="connsiteY3" fmla="*/ 0 h 257442"/>
                <a:gd name="connsiteX0" fmla="*/ 1120718 w 1120718"/>
                <a:gd name="connsiteY0" fmla="*/ 0 h 257442"/>
                <a:gd name="connsiteX1" fmla="*/ 1065998 w 1120718"/>
                <a:gd name="connsiteY1" fmla="*/ 257442 h 257442"/>
                <a:gd name="connsiteX2" fmla="*/ 0 w 1120718"/>
                <a:gd name="connsiteY2" fmla="*/ 257442 h 257442"/>
                <a:gd name="connsiteX3" fmla="*/ 54721 w 1120718"/>
                <a:gd name="connsiteY3" fmla="*/ 0 h 257442"/>
                <a:gd name="connsiteX0" fmla="*/ 1120718 w 1120718"/>
                <a:gd name="connsiteY0" fmla="*/ 0 h 257442"/>
                <a:gd name="connsiteX1" fmla="*/ 1065998 w 1120718"/>
                <a:gd name="connsiteY1" fmla="*/ 257442 h 257442"/>
                <a:gd name="connsiteX2" fmla="*/ 0 w 1120718"/>
                <a:gd name="connsiteY2" fmla="*/ 257442 h 257442"/>
                <a:gd name="connsiteX3" fmla="*/ 54721 w 1120718"/>
                <a:gd name="connsiteY3" fmla="*/ 0 h 257442"/>
                <a:gd name="connsiteX0" fmla="*/ 1298652 w 1298652"/>
                <a:gd name="connsiteY0" fmla="*/ 0 h 257442"/>
                <a:gd name="connsiteX1" fmla="*/ 1065998 w 1298652"/>
                <a:gd name="connsiteY1" fmla="*/ 257442 h 257442"/>
                <a:gd name="connsiteX2" fmla="*/ 0 w 1298652"/>
                <a:gd name="connsiteY2" fmla="*/ 257442 h 257442"/>
                <a:gd name="connsiteX3" fmla="*/ 54721 w 1298652"/>
                <a:gd name="connsiteY3" fmla="*/ 0 h 257442"/>
                <a:gd name="connsiteX0" fmla="*/ 1298652 w 1298652"/>
                <a:gd name="connsiteY0" fmla="*/ 0 h 257442"/>
                <a:gd name="connsiteX1" fmla="*/ 1243931 w 1298652"/>
                <a:gd name="connsiteY1" fmla="*/ 257442 h 257442"/>
                <a:gd name="connsiteX2" fmla="*/ 0 w 1298652"/>
                <a:gd name="connsiteY2" fmla="*/ 257442 h 257442"/>
                <a:gd name="connsiteX3" fmla="*/ 54721 w 1298652"/>
                <a:gd name="connsiteY3" fmla="*/ 0 h 257442"/>
                <a:gd name="connsiteX0" fmla="*/ 1298652 w 1298652"/>
                <a:gd name="connsiteY0" fmla="*/ 0 h 257442"/>
                <a:gd name="connsiteX1" fmla="*/ 1243931 w 1298652"/>
                <a:gd name="connsiteY1" fmla="*/ 257442 h 257442"/>
                <a:gd name="connsiteX2" fmla="*/ 0 w 1298652"/>
                <a:gd name="connsiteY2" fmla="*/ 257442 h 257442"/>
                <a:gd name="connsiteX3" fmla="*/ 54721 w 1298652"/>
                <a:gd name="connsiteY3" fmla="*/ 0 h 257442"/>
                <a:gd name="connsiteX0" fmla="*/ 1298652 w 1298652"/>
                <a:gd name="connsiteY0" fmla="*/ 0 h 257442"/>
                <a:gd name="connsiteX1" fmla="*/ 1243931 w 1298652"/>
                <a:gd name="connsiteY1" fmla="*/ 257442 h 257442"/>
                <a:gd name="connsiteX2" fmla="*/ 0 w 1298652"/>
                <a:gd name="connsiteY2" fmla="*/ 257442 h 257442"/>
                <a:gd name="connsiteX3" fmla="*/ 54721 w 1298652"/>
                <a:gd name="connsiteY3" fmla="*/ 0 h 257442"/>
                <a:gd name="connsiteX0" fmla="*/ 1559942 w 1559942"/>
                <a:gd name="connsiteY0" fmla="*/ 0 h 257442"/>
                <a:gd name="connsiteX1" fmla="*/ 1243931 w 1559942"/>
                <a:gd name="connsiteY1" fmla="*/ 257442 h 257442"/>
                <a:gd name="connsiteX2" fmla="*/ 0 w 1559942"/>
                <a:gd name="connsiteY2" fmla="*/ 257442 h 257442"/>
                <a:gd name="connsiteX3" fmla="*/ 54721 w 1559942"/>
                <a:gd name="connsiteY3" fmla="*/ 0 h 257442"/>
                <a:gd name="connsiteX0" fmla="*/ 1559942 w 1559942"/>
                <a:gd name="connsiteY0" fmla="*/ 0 h 257442"/>
                <a:gd name="connsiteX1" fmla="*/ 1505221 w 1559942"/>
                <a:gd name="connsiteY1" fmla="*/ 257442 h 257442"/>
                <a:gd name="connsiteX2" fmla="*/ 0 w 1559942"/>
                <a:gd name="connsiteY2" fmla="*/ 257442 h 257442"/>
                <a:gd name="connsiteX3" fmla="*/ 54721 w 1559942"/>
                <a:gd name="connsiteY3" fmla="*/ 0 h 257442"/>
                <a:gd name="connsiteX0" fmla="*/ 1559942 w 1559942"/>
                <a:gd name="connsiteY0" fmla="*/ 0 h 257442"/>
                <a:gd name="connsiteX1" fmla="*/ 1505221 w 1559942"/>
                <a:gd name="connsiteY1" fmla="*/ 257442 h 257442"/>
                <a:gd name="connsiteX2" fmla="*/ 0 w 1559942"/>
                <a:gd name="connsiteY2" fmla="*/ 257442 h 257442"/>
                <a:gd name="connsiteX3" fmla="*/ 54721 w 1559942"/>
                <a:gd name="connsiteY3" fmla="*/ 0 h 257442"/>
                <a:gd name="connsiteX0" fmla="*/ 1559942 w 1559942"/>
                <a:gd name="connsiteY0" fmla="*/ 0 h 257442"/>
                <a:gd name="connsiteX1" fmla="*/ 1505221 w 1559942"/>
                <a:gd name="connsiteY1" fmla="*/ 257442 h 257442"/>
                <a:gd name="connsiteX2" fmla="*/ 0 w 1559942"/>
                <a:gd name="connsiteY2" fmla="*/ 257442 h 257442"/>
                <a:gd name="connsiteX3" fmla="*/ 54721 w 1559942"/>
                <a:gd name="connsiteY3" fmla="*/ 0 h 257442"/>
                <a:gd name="connsiteX0" fmla="*/ 1720242 w 1720242"/>
                <a:gd name="connsiteY0" fmla="*/ 0 h 257442"/>
                <a:gd name="connsiteX1" fmla="*/ 1505221 w 1720242"/>
                <a:gd name="connsiteY1" fmla="*/ 257442 h 257442"/>
                <a:gd name="connsiteX2" fmla="*/ 0 w 1720242"/>
                <a:gd name="connsiteY2" fmla="*/ 257442 h 257442"/>
                <a:gd name="connsiteX3" fmla="*/ 54721 w 1720242"/>
                <a:gd name="connsiteY3" fmla="*/ 0 h 257442"/>
                <a:gd name="connsiteX0" fmla="*/ 1720242 w 1720242"/>
                <a:gd name="connsiteY0" fmla="*/ 0 h 257442"/>
                <a:gd name="connsiteX1" fmla="*/ 1665522 w 1720242"/>
                <a:gd name="connsiteY1" fmla="*/ 257442 h 257442"/>
                <a:gd name="connsiteX2" fmla="*/ 0 w 1720242"/>
                <a:gd name="connsiteY2" fmla="*/ 257442 h 257442"/>
                <a:gd name="connsiteX3" fmla="*/ 54721 w 1720242"/>
                <a:gd name="connsiteY3" fmla="*/ 0 h 257442"/>
                <a:gd name="connsiteX0" fmla="*/ 1720242 w 1720242"/>
                <a:gd name="connsiteY0" fmla="*/ 0 h 257442"/>
                <a:gd name="connsiteX1" fmla="*/ 1665522 w 1720242"/>
                <a:gd name="connsiteY1" fmla="*/ 257442 h 257442"/>
                <a:gd name="connsiteX2" fmla="*/ 0 w 1720242"/>
                <a:gd name="connsiteY2" fmla="*/ 257442 h 257442"/>
                <a:gd name="connsiteX3" fmla="*/ 54721 w 1720242"/>
                <a:gd name="connsiteY3" fmla="*/ 0 h 257442"/>
                <a:gd name="connsiteX0" fmla="*/ 1720242 w 1720242"/>
                <a:gd name="connsiteY0" fmla="*/ 0 h 257442"/>
                <a:gd name="connsiteX1" fmla="*/ 1665522 w 1720242"/>
                <a:gd name="connsiteY1" fmla="*/ 257442 h 257442"/>
                <a:gd name="connsiteX2" fmla="*/ 0 w 1720242"/>
                <a:gd name="connsiteY2" fmla="*/ 257442 h 257442"/>
                <a:gd name="connsiteX3" fmla="*/ 54721 w 1720242"/>
                <a:gd name="connsiteY3" fmla="*/ 0 h 257442"/>
                <a:gd name="connsiteX0" fmla="*/ 1973517 w 1973517"/>
                <a:gd name="connsiteY0" fmla="*/ 0 h 257442"/>
                <a:gd name="connsiteX1" fmla="*/ 1665522 w 1973517"/>
                <a:gd name="connsiteY1" fmla="*/ 257442 h 257442"/>
                <a:gd name="connsiteX2" fmla="*/ 0 w 1973517"/>
                <a:gd name="connsiteY2" fmla="*/ 257442 h 257442"/>
                <a:gd name="connsiteX3" fmla="*/ 54721 w 1973517"/>
                <a:gd name="connsiteY3" fmla="*/ 0 h 257442"/>
                <a:gd name="connsiteX0" fmla="*/ 1973517 w 1973517"/>
                <a:gd name="connsiteY0" fmla="*/ 0 h 257442"/>
                <a:gd name="connsiteX1" fmla="*/ 1918796 w 1973517"/>
                <a:gd name="connsiteY1" fmla="*/ 257442 h 257442"/>
                <a:gd name="connsiteX2" fmla="*/ 0 w 1973517"/>
                <a:gd name="connsiteY2" fmla="*/ 257442 h 257442"/>
                <a:gd name="connsiteX3" fmla="*/ 54721 w 1973517"/>
                <a:gd name="connsiteY3" fmla="*/ 0 h 257442"/>
                <a:gd name="connsiteX0" fmla="*/ 1973517 w 1973517"/>
                <a:gd name="connsiteY0" fmla="*/ 0 h 257442"/>
                <a:gd name="connsiteX1" fmla="*/ 1918796 w 1973517"/>
                <a:gd name="connsiteY1" fmla="*/ 257442 h 257442"/>
                <a:gd name="connsiteX2" fmla="*/ 0 w 1973517"/>
                <a:gd name="connsiteY2" fmla="*/ 257442 h 257442"/>
                <a:gd name="connsiteX3" fmla="*/ 54721 w 1973517"/>
                <a:gd name="connsiteY3" fmla="*/ 0 h 257442"/>
                <a:gd name="connsiteX0" fmla="*/ 1973517 w 1973517"/>
                <a:gd name="connsiteY0" fmla="*/ 0 h 257442"/>
                <a:gd name="connsiteX1" fmla="*/ 1918796 w 1973517"/>
                <a:gd name="connsiteY1" fmla="*/ 257442 h 257442"/>
                <a:gd name="connsiteX2" fmla="*/ 0 w 1973517"/>
                <a:gd name="connsiteY2" fmla="*/ 257442 h 257442"/>
                <a:gd name="connsiteX3" fmla="*/ 54721 w 1973517"/>
                <a:gd name="connsiteY3" fmla="*/ 0 h 257442"/>
                <a:gd name="connsiteX0" fmla="*/ 2303736 w 2303736"/>
                <a:gd name="connsiteY0" fmla="*/ 0 h 257442"/>
                <a:gd name="connsiteX1" fmla="*/ 1918796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303736 w 2303736"/>
                <a:gd name="connsiteY0" fmla="*/ 0 h 257442"/>
                <a:gd name="connsiteX1" fmla="*/ 2249014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303737 w 2303737"/>
                <a:gd name="connsiteY0" fmla="*/ 0 h 257442"/>
                <a:gd name="connsiteX1" fmla="*/ 2249015 w 2303737"/>
                <a:gd name="connsiteY1" fmla="*/ 257442 h 257442"/>
                <a:gd name="connsiteX2" fmla="*/ 0 w 2303737"/>
                <a:gd name="connsiteY2" fmla="*/ 257442 h 257442"/>
                <a:gd name="connsiteX3" fmla="*/ 54722 w 2303737"/>
                <a:gd name="connsiteY3" fmla="*/ 0 h 257442"/>
                <a:gd name="connsiteX0" fmla="*/ 2303737 w 2303737"/>
                <a:gd name="connsiteY0" fmla="*/ 0 h 257442"/>
                <a:gd name="connsiteX1" fmla="*/ 2249015 w 2303737"/>
                <a:gd name="connsiteY1" fmla="*/ 257442 h 257442"/>
                <a:gd name="connsiteX2" fmla="*/ 0 w 2303737"/>
                <a:gd name="connsiteY2" fmla="*/ 257442 h 257442"/>
                <a:gd name="connsiteX3" fmla="*/ 54722 w 2303737"/>
                <a:gd name="connsiteY3" fmla="*/ 0 h 257442"/>
                <a:gd name="connsiteX0" fmla="*/ 2481669 w 2481669"/>
                <a:gd name="connsiteY0" fmla="*/ 0 h 257442"/>
                <a:gd name="connsiteX1" fmla="*/ 2249015 w 2481669"/>
                <a:gd name="connsiteY1" fmla="*/ 257442 h 257442"/>
                <a:gd name="connsiteX2" fmla="*/ 0 w 2481669"/>
                <a:gd name="connsiteY2" fmla="*/ 257442 h 257442"/>
                <a:gd name="connsiteX3" fmla="*/ 54722 w 2481669"/>
                <a:gd name="connsiteY3" fmla="*/ 0 h 257442"/>
                <a:gd name="connsiteX0" fmla="*/ 2481669 w 2481669"/>
                <a:gd name="connsiteY0" fmla="*/ 0 h 257442"/>
                <a:gd name="connsiteX1" fmla="*/ 2426948 w 2481669"/>
                <a:gd name="connsiteY1" fmla="*/ 257442 h 257442"/>
                <a:gd name="connsiteX2" fmla="*/ 0 w 2481669"/>
                <a:gd name="connsiteY2" fmla="*/ 257442 h 257442"/>
                <a:gd name="connsiteX3" fmla="*/ 54722 w 2481669"/>
                <a:gd name="connsiteY3" fmla="*/ 0 h 257442"/>
                <a:gd name="connsiteX0" fmla="*/ 2481668 w 2481668"/>
                <a:gd name="connsiteY0" fmla="*/ 0 h 257442"/>
                <a:gd name="connsiteX1" fmla="*/ 2426947 w 2481668"/>
                <a:gd name="connsiteY1" fmla="*/ 257442 h 257442"/>
                <a:gd name="connsiteX2" fmla="*/ 0 w 2481668"/>
                <a:gd name="connsiteY2" fmla="*/ 257442 h 257442"/>
                <a:gd name="connsiteX3" fmla="*/ 54721 w 2481668"/>
                <a:gd name="connsiteY3" fmla="*/ 0 h 257442"/>
                <a:gd name="connsiteX0" fmla="*/ 2481668 w 2481668"/>
                <a:gd name="connsiteY0" fmla="*/ 0 h 257442"/>
                <a:gd name="connsiteX1" fmla="*/ 2426947 w 2481668"/>
                <a:gd name="connsiteY1" fmla="*/ 257442 h 257442"/>
                <a:gd name="connsiteX2" fmla="*/ 0 w 2481668"/>
                <a:gd name="connsiteY2" fmla="*/ 257442 h 257442"/>
                <a:gd name="connsiteX3" fmla="*/ 54720 w 2481668"/>
                <a:gd name="connsiteY3" fmla="*/ 0 h 257442"/>
                <a:gd name="connsiteX0" fmla="*/ 2649983 w 2649983"/>
                <a:gd name="connsiteY0" fmla="*/ 0 h 257442"/>
                <a:gd name="connsiteX1" fmla="*/ 2426947 w 2649983"/>
                <a:gd name="connsiteY1" fmla="*/ 257442 h 257442"/>
                <a:gd name="connsiteX2" fmla="*/ 0 w 2649983"/>
                <a:gd name="connsiteY2" fmla="*/ 257442 h 257442"/>
                <a:gd name="connsiteX3" fmla="*/ 54720 w 2649983"/>
                <a:gd name="connsiteY3" fmla="*/ 0 h 257442"/>
                <a:gd name="connsiteX0" fmla="*/ 2649983 w 2649983"/>
                <a:gd name="connsiteY0" fmla="*/ 0 h 257442"/>
                <a:gd name="connsiteX1" fmla="*/ 2595262 w 2649983"/>
                <a:gd name="connsiteY1" fmla="*/ 257442 h 257442"/>
                <a:gd name="connsiteX2" fmla="*/ 0 w 2649983"/>
                <a:gd name="connsiteY2" fmla="*/ 257442 h 257442"/>
                <a:gd name="connsiteX3" fmla="*/ 54720 w 2649983"/>
                <a:gd name="connsiteY3" fmla="*/ 0 h 257442"/>
                <a:gd name="connsiteX0" fmla="*/ 2649984 w 2649984"/>
                <a:gd name="connsiteY0" fmla="*/ 0 h 257442"/>
                <a:gd name="connsiteX1" fmla="*/ 2595263 w 2649984"/>
                <a:gd name="connsiteY1" fmla="*/ 257442 h 257442"/>
                <a:gd name="connsiteX2" fmla="*/ 0 w 2649984"/>
                <a:gd name="connsiteY2" fmla="*/ 257442 h 257442"/>
                <a:gd name="connsiteX3" fmla="*/ 54721 w 2649984"/>
                <a:gd name="connsiteY3" fmla="*/ 0 h 257442"/>
                <a:gd name="connsiteX0" fmla="*/ 2649984 w 2649984"/>
                <a:gd name="connsiteY0" fmla="*/ 0 h 257442"/>
                <a:gd name="connsiteX1" fmla="*/ 2595263 w 2649984"/>
                <a:gd name="connsiteY1" fmla="*/ 257442 h 257442"/>
                <a:gd name="connsiteX2" fmla="*/ 0 w 2649984"/>
                <a:gd name="connsiteY2" fmla="*/ 257442 h 257442"/>
                <a:gd name="connsiteX3" fmla="*/ 54721 w 2649984"/>
                <a:gd name="connsiteY3" fmla="*/ 0 h 257442"/>
                <a:gd name="connsiteX0" fmla="*/ 2812593 w 2812593"/>
                <a:gd name="connsiteY0" fmla="*/ 0 h 257442"/>
                <a:gd name="connsiteX1" fmla="*/ 2595263 w 2812593"/>
                <a:gd name="connsiteY1" fmla="*/ 257442 h 257442"/>
                <a:gd name="connsiteX2" fmla="*/ 0 w 2812593"/>
                <a:gd name="connsiteY2" fmla="*/ 257442 h 257442"/>
                <a:gd name="connsiteX3" fmla="*/ 54721 w 2812593"/>
                <a:gd name="connsiteY3" fmla="*/ 0 h 257442"/>
                <a:gd name="connsiteX0" fmla="*/ 2812593 w 2812593"/>
                <a:gd name="connsiteY0" fmla="*/ 0 h 257442"/>
                <a:gd name="connsiteX1" fmla="*/ 2757872 w 2812593"/>
                <a:gd name="connsiteY1" fmla="*/ 257442 h 257442"/>
                <a:gd name="connsiteX2" fmla="*/ 0 w 2812593"/>
                <a:gd name="connsiteY2" fmla="*/ 257442 h 257442"/>
                <a:gd name="connsiteX3" fmla="*/ 54721 w 2812593"/>
                <a:gd name="connsiteY3" fmla="*/ 0 h 257442"/>
                <a:gd name="connsiteX0" fmla="*/ 2812593 w 2812593"/>
                <a:gd name="connsiteY0" fmla="*/ 0 h 257442"/>
                <a:gd name="connsiteX1" fmla="*/ 2757872 w 2812593"/>
                <a:gd name="connsiteY1" fmla="*/ 257442 h 257442"/>
                <a:gd name="connsiteX2" fmla="*/ 0 w 2812593"/>
                <a:gd name="connsiteY2" fmla="*/ 257442 h 257442"/>
                <a:gd name="connsiteX3" fmla="*/ 54721 w 2812593"/>
                <a:gd name="connsiteY3" fmla="*/ 0 h 257442"/>
                <a:gd name="connsiteX0" fmla="*/ 2812593 w 2812593"/>
                <a:gd name="connsiteY0" fmla="*/ 0 h 257442"/>
                <a:gd name="connsiteX1" fmla="*/ 2757872 w 2812593"/>
                <a:gd name="connsiteY1" fmla="*/ 257442 h 257442"/>
                <a:gd name="connsiteX2" fmla="*/ 0 w 2812593"/>
                <a:gd name="connsiteY2" fmla="*/ 257442 h 257442"/>
                <a:gd name="connsiteX3" fmla="*/ 54721 w 2812593"/>
                <a:gd name="connsiteY3" fmla="*/ 0 h 257442"/>
                <a:gd name="connsiteX0" fmla="*/ 2649984 w 2757872"/>
                <a:gd name="connsiteY0" fmla="*/ 0 h 257442"/>
                <a:gd name="connsiteX1" fmla="*/ 2757872 w 2757872"/>
                <a:gd name="connsiteY1" fmla="*/ 257442 h 257442"/>
                <a:gd name="connsiteX2" fmla="*/ 0 w 2757872"/>
                <a:gd name="connsiteY2" fmla="*/ 257442 h 257442"/>
                <a:gd name="connsiteX3" fmla="*/ 54721 w 2757872"/>
                <a:gd name="connsiteY3" fmla="*/ 0 h 257442"/>
                <a:gd name="connsiteX0" fmla="*/ 2649984 w 2649984"/>
                <a:gd name="connsiteY0" fmla="*/ 0 h 257442"/>
                <a:gd name="connsiteX1" fmla="*/ 2595263 w 2649984"/>
                <a:gd name="connsiteY1" fmla="*/ 257442 h 257442"/>
                <a:gd name="connsiteX2" fmla="*/ 0 w 2649984"/>
                <a:gd name="connsiteY2" fmla="*/ 257442 h 257442"/>
                <a:gd name="connsiteX3" fmla="*/ 54721 w 2649984"/>
                <a:gd name="connsiteY3" fmla="*/ 0 h 257442"/>
                <a:gd name="connsiteX0" fmla="*/ 2649984 w 2649984"/>
                <a:gd name="connsiteY0" fmla="*/ 0 h 257442"/>
                <a:gd name="connsiteX1" fmla="*/ 2595263 w 2649984"/>
                <a:gd name="connsiteY1" fmla="*/ 257442 h 257442"/>
                <a:gd name="connsiteX2" fmla="*/ 0 w 2649984"/>
                <a:gd name="connsiteY2" fmla="*/ 257442 h 257442"/>
                <a:gd name="connsiteX3" fmla="*/ 54721 w 2649984"/>
                <a:gd name="connsiteY3" fmla="*/ 0 h 257442"/>
                <a:gd name="connsiteX0" fmla="*/ 2649984 w 2649984"/>
                <a:gd name="connsiteY0" fmla="*/ 0 h 257442"/>
                <a:gd name="connsiteX1" fmla="*/ 2595263 w 2649984"/>
                <a:gd name="connsiteY1" fmla="*/ 257442 h 257442"/>
                <a:gd name="connsiteX2" fmla="*/ 0 w 2649984"/>
                <a:gd name="connsiteY2" fmla="*/ 257442 h 257442"/>
                <a:gd name="connsiteX3" fmla="*/ 54721 w 2649984"/>
                <a:gd name="connsiteY3" fmla="*/ 0 h 257442"/>
                <a:gd name="connsiteX0" fmla="*/ 2481668 w 2595263"/>
                <a:gd name="connsiteY0" fmla="*/ 0 h 257442"/>
                <a:gd name="connsiteX1" fmla="*/ 2595263 w 2595263"/>
                <a:gd name="connsiteY1" fmla="*/ 257442 h 257442"/>
                <a:gd name="connsiteX2" fmla="*/ 0 w 2595263"/>
                <a:gd name="connsiteY2" fmla="*/ 257442 h 257442"/>
                <a:gd name="connsiteX3" fmla="*/ 54721 w 2595263"/>
                <a:gd name="connsiteY3" fmla="*/ 0 h 257442"/>
                <a:gd name="connsiteX0" fmla="*/ 2481668 w 2481668"/>
                <a:gd name="connsiteY0" fmla="*/ 0 h 257442"/>
                <a:gd name="connsiteX1" fmla="*/ 2426948 w 2481668"/>
                <a:gd name="connsiteY1" fmla="*/ 257442 h 257442"/>
                <a:gd name="connsiteX2" fmla="*/ 0 w 2481668"/>
                <a:gd name="connsiteY2" fmla="*/ 257442 h 257442"/>
                <a:gd name="connsiteX3" fmla="*/ 54721 w 2481668"/>
                <a:gd name="connsiteY3" fmla="*/ 0 h 257442"/>
                <a:gd name="connsiteX0" fmla="*/ 2481667 w 2481667"/>
                <a:gd name="connsiteY0" fmla="*/ 0 h 257442"/>
                <a:gd name="connsiteX1" fmla="*/ 2426947 w 2481667"/>
                <a:gd name="connsiteY1" fmla="*/ 257442 h 257442"/>
                <a:gd name="connsiteX2" fmla="*/ 0 w 2481667"/>
                <a:gd name="connsiteY2" fmla="*/ 257442 h 257442"/>
                <a:gd name="connsiteX3" fmla="*/ 54720 w 2481667"/>
                <a:gd name="connsiteY3" fmla="*/ 0 h 257442"/>
                <a:gd name="connsiteX0" fmla="*/ 2481667 w 2481667"/>
                <a:gd name="connsiteY0" fmla="*/ 0 h 257442"/>
                <a:gd name="connsiteX1" fmla="*/ 2426947 w 2481667"/>
                <a:gd name="connsiteY1" fmla="*/ 257442 h 257442"/>
                <a:gd name="connsiteX2" fmla="*/ 0 w 2481667"/>
                <a:gd name="connsiteY2" fmla="*/ 257442 h 257442"/>
                <a:gd name="connsiteX3" fmla="*/ 54721 w 2481667"/>
                <a:gd name="connsiteY3" fmla="*/ 0 h 257442"/>
                <a:gd name="connsiteX0" fmla="*/ 2303736 w 2426947"/>
                <a:gd name="connsiteY0" fmla="*/ 0 h 257442"/>
                <a:gd name="connsiteX1" fmla="*/ 2426947 w 2426947"/>
                <a:gd name="connsiteY1" fmla="*/ 257442 h 257442"/>
                <a:gd name="connsiteX2" fmla="*/ 0 w 2426947"/>
                <a:gd name="connsiteY2" fmla="*/ 257442 h 257442"/>
                <a:gd name="connsiteX3" fmla="*/ 54721 w 2426947"/>
                <a:gd name="connsiteY3" fmla="*/ 0 h 257442"/>
                <a:gd name="connsiteX0" fmla="*/ 2303736 w 2303736"/>
                <a:gd name="connsiteY0" fmla="*/ 0 h 257442"/>
                <a:gd name="connsiteX1" fmla="*/ 2249015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303736 w 2303736"/>
                <a:gd name="connsiteY0" fmla="*/ 0 h 257442"/>
                <a:gd name="connsiteX1" fmla="*/ 2249015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303736 w 2303736"/>
                <a:gd name="connsiteY0" fmla="*/ 0 h 257442"/>
                <a:gd name="connsiteX1" fmla="*/ 2249015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125802 w 2249015"/>
                <a:gd name="connsiteY0" fmla="*/ 0 h 257442"/>
                <a:gd name="connsiteX1" fmla="*/ 2249015 w 2249015"/>
                <a:gd name="connsiteY1" fmla="*/ 257442 h 257442"/>
                <a:gd name="connsiteX2" fmla="*/ 0 w 2249015"/>
                <a:gd name="connsiteY2" fmla="*/ 257442 h 257442"/>
                <a:gd name="connsiteX3" fmla="*/ 54721 w 2249015"/>
                <a:gd name="connsiteY3" fmla="*/ 0 h 257442"/>
                <a:gd name="connsiteX0" fmla="*/ 2125802 w 2125802"/>
                <a:gd name="connsiteY0" fmla="*/ 0 h 257442"/>
                <a:gd name="connsiteX1" fmla="*/ 2071082 w 2125802"/>
                <a:gd name="connsiteY1" fmla="*/ 257442 h 257442"/>
                <a:gd name="connsiteX2" fmla="*/ 0 w 2125802"/>
                <a:gd name="connsiteY2" fmla="*/ 257442 h 257442"/>
                <a:gd name="connsiteX3" fmla="*/ 54721 w 2125802"/>
                <a:gd name="connsiteY3" fmla="*/ 0 h 257442"/>
                <a:gd name="connsiteX0" fmla="*/ 2125801 w 2125801"/>
                <a:gd name="connsiteY0" fmla="*/ 0 h 257442"/>
                <a:gd name="connsiteX1" fmla="*/ 2071081 w 2125801"/>
                <a:gd name="connsiteY1" fmla="*/ 257442 h 257442"/>
                <a:gd name="connsiteX2" fmla="*/ 0 w 2125801"/>
                <a:gd name="connsiteY2" fmla="*/ 257442 h 257442"/>
                <a:gd name="connsiteX3" fmla="*/ 54720 w 2125801"/>
                <a:gd name="connsiteY3" fmla="*/ 0 h 257442"/>
                <a:gd name="connsiteX0" fmla="*/ 2125801 w 2125801"/>
                <a:gd name="connsiteY0" fmla="*/ 0 h 257442"/>
                <a:gd name="connsiteX1" fmla="*/ 2071081 w 2125801"/>
                <a:gd name="connsiteY1" fmla="*/ 257442 h 257442"/>
                <a:gd name="connsiteX2" fmla="*/ 0 w 2125801"/>
                <a:gd name="connsiteY2" fmla="*/ 257442 h 257442"/>
                <a:gd name="connsiteX3" fmla="*/ 54721 w 2125801"/>
                <a:gd name="connsiteY3" fmla="*/ 0 h 257442"/>
                <a:gd name="connsiteX0" fmla="*/ 2303736 w 2303736"/>
                <a:gd name="connsiteY0" fmla="*/ 0 h 257442"/>
                <a:gd name="connsiteX1" fmla="*/ 2071081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303736 w 2303736"/>
                <a:gd name="connsiteY0" fmla="*/ 0 h 257442"/>
                <a:gd name="connsiteX1" fmla="*/ 2249014 w 2303736"/>
                <a:gd name="connsiteY1" fmla="*/ 257442 h 257442"/>
                <a:gd name="connsiteX2" fmla="*/ 0 w 2303736"/>
                <a:gd name="connsiteY2" fmla="*/ 257442 h 257442"/>
                <a:gd name="connsiteX3" fmla="*/ 54721 w 2303736"/>
                <a:gd name="connsiteY3" fmla="*/ 0 h 257442"/>
                <a:gd name="connsiteX0" fmla="*/ 2303737 w 2303737"/>
                <a:gd name="connsiteY0" fmla="*/ 0 h 257442"/>
                <a:gd name="connsiteX1" fmla="*/ 2249015 w 2303737"/>
                <a:gd name="connsiteY1" fmla="*/ 257442 h 257442"/>
                <a:gd name="connsiteX2" fmla="*/ 0 w 2303737"/>
                <a:gd name="connsiteY2" fmla="*/ 257442 h 257442"/>
                <a:gd name="connsiteX3" fmla="*/ 54722 w 2303737"/>
                <a:gd name="connsiteY3" fmla="*/ 0 h 257442"/>
                <a:gd name="connsiteX0" fmla="*/ 2303737 w 2303737"/>
                <a:gd name="connsiteY0" fmla="*/ 0 h 257442"/>
                <a:gd name="connsiteX1" fmla="*/ 2249015 w 2303737"/>
                <a:gd name="connsiteY1" fmla="*/ 257442 h 257442"/>
                <a:gd name="connsiteX2" fmla="*/ 0 w 2303737"/>
                <a:gd name="connsiteY2" fmla="*/ 257442 h 257442"/>
                <a:gd name="connsiteX3" fmla="*/ 54722 w 2303737"/>
                <a:gd name="connsiteY3" fmla="*/ 0 h 257442"/>
                <a:gd name="connsiteX0" fmla="*/ 2472051 w 2472051"/>
                <a:gd name="connsiteY0" fmla="*/ 0 h 257442"/>
                <a:gd name="connsiteX1" fmla="*/ 2249015 w 2472051"/>
                <a:gd name="connsiteY1" fmla="*/ 257442 h 257442"/>
                <a:gd name="connsiteX2" fmla="*/ 0 w 2472051"/>
                <a:gd name="connsiteY2" fmla="*/ 257442 h 257442"/>
                <a:gd name="connsiteX3" fmla="*/ 54722 w 2472051"/>
                <a:gd name="connsiteY3" fmla="*/ 0 h 257442"/>
                <a:gd name="connsiteX0" fmla="*/ 2472051 w 2472051"/>
                <a:gd name="connsiteY0" fmla="*/ 0 h 257442"/>
                <a:gd name="connsiteX1" fmla="*/ 2417330 w 2472051"/>
                <a:gd name="connsiteY1" fmla="*/ 257442 h 257442"/>
                <a:gd name="connsiteX2" fmla="*/ 0 w 2472051"/>
                <a:gd name="connsiteY2" fmla="*/ 257442 h 257442"/>
                <a:gd name="connsiteX3" fmla="*/ 54722 w 2472051"/>
                <a:gd name="connsiteY3" fmla="*/ 0 h 257442"/>
                <a:gd name="connsiteX0" fmla="*/ 2472050 w 2472050"/>
                <a:gd name="connsiteY0" fmla="*/ 0 h 257442"/>
                <a:gd name="connsiteX1" fmla="*/ 2417329 w 2472050"/>
                <a:gd name="connsiteY1" fmla="*/ 257442 h 257442"/>
                <a:gd name="connsiteX2" fmla="*/ 0 w 2472050"/>
                <a:gd name="connsiteY2" fmla="*/ 257442 h 257442"/>
                <a:gd name="connsiteX3" fmla="*/ 54721 w 2472050"/>
                <a:gd name="connsiteY3" fmla="*/ 0 h 257442"/>
                <a:gd name="connsiteX0" fmla="*/ 2472050 w 2472050"/>
                <a:gd name="connsiteY0" fmla="*/ 0 h 257442"/>
                <a:gd name="connsiteX1" fmla="*/ 2417329 w 2472050"/>
                <a:gd name="connsiteY1" fmla="*/ 257442 h 257442"/>
                <a:gd name="connsiteX2" fmla="*/ 0 w 2472050"/>
                <a:gd name="connsiteY2" fmla="*/ 257442 h 257442"/>
                <a:gd name="connsiteX3" fmla="*/ 54720 w 2472050"/>
                <a:gd name="connsiteY3" fmla="*/ 0 h 257442"/>
                <a:gd name="connsiteX0" fmla="*/ 2634658 w 2634658"/>
                <a:gd name="connsiteY0" fmla="*/ 0 h 257442"/>
                <a:gd name="connsiteX1" fmla="*/ 2417329 w 2634658"/>
                <a:gd name="connsiteY1" fmla="*/ 257442 h 257442"/>
                <a:gd name="connsiteX2" fmla="*/ 0 w 2634658"/>
                <a:gd name="connsiteY2" fmla="*/ 257442 h 257442"/>
                <a:gd name="connsiteX3" fmla="*/ 54720 w 2634658"/>
                <a:gd name="connsiteY3" fmla="*/ 0 h 257442"/>
                <a:gd name="connsiteX0" fmla="*/ 2634658 w 2634658"/>
                <a:gd name="connsiteY0" fmla="*/ 0 h 257442"/>
                <a:gd name="connsiteX1" fmla="*/ 2579937 w 2634658"/>
                <a:gd name="connsiteY1" fmla="*/ 257442 h 257442"/>
                <a:gd name="connsiteX2" fmla="*/ 0 w 2634658"/>
                <a:gd name="connsiteY2" fmla="*/ 257442 h 257442"/>
                <a:gd name="connsiteX3" fmla="*/ 54720 w 2634658"/>
                <a:gd name="connsiteY3" fmla="*/ 0 h 257442"/>
                <a:gd name="connsiteX0" fmla="*/ 2634659 w 2634659"/>
                <a:gd name="connsiteY0" fmla="*/ 0 h 257442"/>
                <a:gd name="connsiteX1" fmla="*/ 2579938 w 2634659"/>
                <a:gd name="connsiteY1" fmla="*/ 257442 h 257442"/>
                <a:gd name="connsiteX2" fmla="*/ 0 w 2634659"/>
                <a:gd name="connsiteY2" fmla="*/ 257442 h 257442"/>
                <a:gd name="connsiteX3" fmla="*/ 54721 w 2634659"/>
                <a:gd name="connsiteY3" fmla="*/ 0 h 257442"/>
                <a:gd name="connsiteX0" fmla="*/ 2634659 w 2634659"/>
                <a:gd name="connsiteY0" fmla="*/ 0 h 257442"/>
                <a:gd name="connsiteX1" fmla="*/ 2579938 w 2634659"/>
                <a:gd name="connsiteY1" fmla="*/ 257442 h 257442"/>
                <a:gd name="connsiteX2" fmla="*/ 0 w 2634659"/>
                <a:gd name="connsiteY2" fmla="*/ 257442 h 257442"/>
                <a:gd name="connsiteX3" fmla="*/ 54722 w 2634659"/>
                <a:gd name="connsiteY3" fmla="*/ 0 h 257442"/>
                <a:gd name="connsiteX0" fmla="*/ 2797910 w 2797910"/>
                <a:gd name="connsiteY0" fmla="*/ 0 h 257442"/>
                <a:gd name="connsiteX1" fmla="*/ 2579938 w 2797910"/>
                <a:gd name="connsiteY1" fmla="*/ 257442 h 257442"/>
                <a:gd name="connsiteX2" fmla="*/ 0 w 2797910"/>
                <a:gd name="connsiteY2" fmla="*/ 257442 h 257442"/>
                <a:gd name="connsiteX3" fmla="*/ 54722 w 2797910"/>
                <a:gd name="connsiteY3" fmla="*/ 0 h 257442"/>
                <a:gd name="connsiteX0" fmla="*/ 2797910 w 2797910"/>
                <a:gd name="connsiteY0" fmla="*/ 0 h 257442"/>
                <a:gd name="connsiteX1" fmla="*/ 2743188 w 2797910"/>
                <a:gd name="connsiteY1" fmla="*/ 257442 h 257442"/>
                <a:gd name="connsiteX2" fmla="*/ 0 w 2797910"/>
                <a:gd name="connsiteY2" fmla="*/ 257442 h 257442"/>
                <a:gd name="connsiteX3" fmla="*/ 54722 w 2797910"/>
                <a:gd name="connsiteY3" fmla="*/ 0 h 257442"/>
                <a:gd name="connsiteX0" fmla="*/ 2797910 w 2797910"/>
                <a:gd name="connsiteY0" fmla="*/ 0 h 257442"/>
                <a:gd name="connsiteX1" fmla="*/ 2743188 w 2797910"/>
                <a:gd name="connsiteY1" fmla="*/ 257442 h 257442"/>
                <a:gd name="connsiteX2" fmla="*/ 0 w 2797910"/>
                <a:gd name="connsiteY2" fmla="*/ 257442 h 257442"/>
                <a:gd name="connsiteX3" fmla="*/ 54722 w 2797910"/>
                <a:gd name="connsiteY3" fmla="*/ 0 h 257442"/>
                <a:gd name="connsiteX0" fmla="*/ 2797910 w 2797910"/>
                <a:gd name="connsiteY0" fmla="*/ 0 h 257442"/>
                <a:gd name="connsiteX1" fmla="*/ 2743188 w 2797910"/>
                <a:gd name="connsiteY1" fmla="*/ 257442 h 257442"/>
                <a:gd name="connsiteX2" fmla="*/ 0 w 2797910"/>
                <a:gd name="connsiteY2" fmla="*/ 257442 h 257442"/>
                <a:gd name="connsiteX3" fmla="*/ 54721 w 2797910"/>
                <a:gd name="connsiteY3" fmla="*/ 0 h 257442"/>
                <a:gd name="connsiteX0" fmla="*/ 2968981 w 2968981"/>
                <a:gd name="connsiteY0" fmla="*/ 0 h 257442"/>
                <a:gd name="connsiteX1" fmla="*/ 2743188 w 2968981"/>
                <a:gd name="connsiteY1" fmla="*/ 257442 h 257442"/>
                <a:gd name="connsiteX2" fmla="*/ 0 w 2968981"/>
                <a:gd name="connsiteY2" fmla="*/ 257442 h 257442"/>
                <a:gd name="connsiteX3" fmla="*/ 54721 w 2968981"/>
                <a:gd name="connsiteY3" fmla="*/ 0 h 257442"/>
                <a:gd name="connsiteX0" fmla="*/ 2968981 w 2968981"/>
                <a:gd name="connsiteY0" fmla="*/ 0 h 257442"/>
                <a:gd name="connsiteX1" fmla="*/ 2914260 w 2968981"/>
                <a:gd name="connsiteY1" fmla="*/ 257442 h 257442"/>
                <a:gd name="connsiteX2" fmla="*/ 0 w 2968981"/>
                <a:gd name="connsiteY2" fmla="*/ 257442 h 257442"/>
                <a:gd name="connsiteX3" fmla="*/ 54721 w 2968981"/>
                <a:gd name="connsiteY3" fmla="*/ 0 h 257442"/>
                <a:gd name="connsiteX0" fmla="*/ 2968981 w 2968981"/>
                <a:gd name="connsiteY0" fmla="*/ 0 h 257442"/>
                <a:gd name="connsiteX1" fmla="*/ 2914260 w 2968981"/>
                <a:gd name="connsiteY1" fmla="*/ 257442 h 257442"/>
                <a:gd name="connsiteX2" fmla="*/ 0 w 2968981"/>
                <a:gd name="connsiteY2" fmla="*/ 257442 h 257442"/>
                <a:gd name="connsiteX3" fmla="*/ 54721 w 2968981"/>
                <a:gd name="connsiteY3" fmla="*/ 0 h 257442"/>
                <a:gd name="connsiteX0" fmla="*/ 2968981 w 2968981"/>
                <a:gd name="connsiteY0" fmla="*/ 0 h 257442"/>
                <a:gd name="connsiteX1" fmla="*/ 2914260 w 2968981"/>
                <a:gd name="connsiteY1" fmla="*/ 257442 h 257442"/>
                <a:gd name="connsiteX2" fmla="*/ 0 w 2968981"/>
                <a:gd name="connsiteY2" fmla="*/ 257442 h 257442"/>
                <a:gd name="connsiteX3" fmla="*/ 54721 w 2968981"/>
                <a:gd name="connsiteY3" fmla="*/ 0 h 257442"/>
                <a:gd name="connsiteX0" fmla="*/ 3277784 w 3277784"/>
                <a:gd name="connsiteY0" fmla="*/ 0 h 257442"/>
                <a:gd name="connsiteX1" fmla="*/ 2914260 w 3277784"/>
                <a:gd name="connsiteY1" fmla="*/ 257442 h 257442"/>
                <a:gd name="connsiteX2" fmla="*/ 0 w 3277784"/>
                <a:gd name="connsiteY2" fmla="*/ 257442 h 257442"/>
                <a:gd name="connsiteX3" fmla="*/ 54721 w 3277784"/>
                <a:gd name="connsiteY3" fmla="*/ 0 h 257442"/>
                <a:gd name="connsiteX0" fmla="*/ 3277784 w 3277784"/>
                <a:gd name="connsiteY0" fmla="*/ 0 h 257442"/>
                <a:gd name="connsiteX1" fmla="*/ 3223062 w 3277784"/>
                <a:gd name="connsiteY1" fmla="*/ 257442 h 257442"/>
                <a:gd name="connsiteX2" fmla="*/ 0 w 3277784"/>
                <a:gd name="connsiteY2" fmla="*/ 257442 h 257442"/>
                <a:gd name="connsiteX3" fmla="*/ 54721 w 3277784"/>
                <a:gd name="connsiteY3" fmla="*/ 0 h 257442"/>
                <a:gd name="connsiteX0" fmla="*/ 3277785 w 3277785"/>
                <a:gd name="connsiteY0" fmla="*/ 0 h 257442"/>
                <a:gd name="connsiteX1" fmla="*/ 3223063 w 3277785"/>
                <a:gd name="connsiteY1" fmla="*/ 257442 h 257442"/>
                <a:gd name="connsiteX2" fmla="*/ 0 w 3277785"/>
                <a:gd name="connsiteY2" fmla="*/ 257442 h 257442"/>
                <a:gd name="connsiteX3" fmla="*/ 54722 w 3277785"/>
                <a:gd name="connsiteY3" fmla="*/ 0 h 257442"/>
                <a:gd name="connsiteX0" fmla="*/ 3277785 w 3277785"/>
                <a:gd name="connsiteY0" fmla="*/ 0 h 257442"/>
                <a:gd name="connsiteX1" fmla="*/ 3223063 w 3277785"/>
                <a:gd name="connsiteY1" fmla="*/ 257442 h 257442"/>
                <a:gd name="connsiteX2" fmla="*/ 0 w 3277785"/>
                <a:gd name="connsiteY2" fmla="*/ 257442 h 257442"/>
                <a:gd name="connsiteX3" fmla="*/ 54722 w 3277785"/>
                <a:gd name="connsiteY3" fmla="*/ 0 h 257442"/>
                <a:gd name="connsiteX0" fmla="*/ 3451807 w 3451807"/>
                <a:gd name="connsiteY0" fmla="*/ 0 h 257442"/>
                <a:gd name="connsiteX1" fmla="*/ 3223063 w 3451807"/>
                <a:gd name="connsiteY1" fmla="*/ 257442 h 257442"/>
                <a:gd name="connsiteX2" fmla="*/ 0 w 3451807"/>
                <a:gd name="connsiteY2" fmla="*/ 257442 h 257442"/>
                <a:gd name="connsiteX3" fmla="*/ 54722 w 3451807"/>
                <a:gd name="connsiteY3" fmla="*/ 0 h 257442"/>
                <a:gd name="connsiteX0" fmla="*/ 3451807 w 3451807"/>
                <a:gd name="connsiteY0" fmla="*/ 0 h 257442"/>
                <a:gd name="connsiteX1" fmla="*/ 3397086 w 3451807"/>
                <a:gd name="connsiteY1" fmla="*/ 257442 h 257442"/>
                <a:gd name="connsiteX2" fmla="*/ 0 w 3451807"/>
                <a:gd name="connsiteY2" fmla="*/ 257442 h 257442"/>
                <a:gd name="connsiteX3" fmla="*/ 54722 w 3451807"/>
                <a:gd name="connsiteY3" fmla="*/ 0 h 257442"/>
                <a:gd name="connsiteX0" fmla="*/ 3451806 w 3451806"/>
                <a:gd name="connsiteY0" fmla="*/ 0 h 257442"/>
                <a:gd name="connsiteX1" fmla="*/ 3397085 w 3451806"/>
                <a:gd name="connsiteY1" fmla="*/ 257442 h 257442"/>
                <a:gd name="connsiteX2" fmla="*/ 0 w 3451806"/>
                <a:gd name="connsiteY2" fmla="*/ 257442 h 257442"/>
                <a:gd name="connsiteX3" fmla="*/ 54721 w 3451806"/>
                <a:gd name="connsiteY3" fmla="*/ 0 h 257442"/>
                <a:gd name="connsiteX0" fmla="*/ 3451806 w 3451806"/>
                <a:gd name="connsiteY0" fmla="*/ 0 h 257442"/>
                <a:gd name="connsiteX1" fmla="*/ 3397085 w 3451806"/>
                <a:gd name="connsiteY1" fmla="*/ 257442 h 257442"/>
                <a:gd name="connsiteX2" fmla="*/ 0 w 3451806"/>
                <a:gd name="connsiteY2" fmla="*/ 257442 h 257442"/>
                <a:gd name="connsiteX3" fmla="*/ 54720 w 3451806"/>
                <a:gd name="connsiteY3" fmla="*/ 0 h 257442"/>
                <a:gd name="connsiteX0" fmla="*/ 3620121 w 3620121"/>
                <a:gd name="connsiteY0" fmla="*/ 0 h 257442"/>
                <a:gd name="connsiteX1" fmla="*/ 3397085 w 3620121"/>
                <a:gd name="connsiteY1" fmla="*/ 257442 h 257442"/>
                <a:gd name="connsiteX2" fmla="*/ 0 w 3620121"/>
                <a:gd name="connsiteY2" fmla="*/ 257442 h 257442"/>
                <a:gd name="connsiteX3" fmla="*/ 54720 w 3620121"/>
                <a:gd name="connsiteY3" fmla="*/ 0 h 257442"/>
                <a:gd name="connsiteX0" fmla="*/ 3620121 w 3620121"/>
                <a:gd name="connsiteY0" fmla="*/ 0 h 257442"/>
                <a:gd name="connsiteX1" fmla="*/ 3565400 w 3620121"/>
                <a:gd name="connsiteY1" fmla="*/ 257442 h 257442"/>
                <a:gd name="connsiteX2" fmla="*/ 0 w 3620121"/>
                <a:gd name="connsiteY2" fmla="*/ 257442 h 257442"/>
                <a:gd name="connsiteX3" fmla="*/ 54720 w 3620121"/>
                <a:gd name="connsiteY3" fmla="*/ 0 h 257442"/>
                <a:gd name="connsiteX0" fmla="*/ 3620122 w 3620122"/>
                <a:gd name="connsiteY0" fmla="*/ 0 h 257442"/>
                <a:gd name="connsiteX1" fmla="*/ 3565401 w 3620122"/>
                <a:gd name="connsiteY1" fmla="*/ 257442 h 257442"/>
                <a:gd name="connsiteX2" fmla="*/ 0 w 3620122"/>
                <a:gd name="connsiteY2" fmla="*/ 257442 h 257442"/>
                <a:gd name="connsiteX3" fmla="*/ 54721 w 3620122"/>
                <a:gd name="connsiteY3" fmla="*/ 0 h 257442"/>
                <a:gd name="connsiteX0" fmla="*/ 3620122 w 3620122"/>
                <a:gd name="connsiteY0" fmla="*/ 0 h 257442"/>
                <a:gd name="connsiteX1" fmla="*/ 3565401 w 3620122"/>
                <a:gd name="connsiteY1" fmla="*/ 257442 h 257442"/>
                <a:gd name="connsiteX2" fmla="*/ 0 w 3620122"/>
                <a:gd name="connsiteY2" fmla="*/ 257442 h 257442"/>
                <a:gd name="connsiteX3" fmla="*/ 54721 w 3620122"/>
                <a:gd name="connsiteY3" fmla="*/ 0 h 257442"/>
                <a:gd name="connsiteX0" fmla="*/ 3873396 w 3873396"/>
                <a:gd name="connsiteY0" fmla="*/ 0 h 257442"/>
                <a:gd name="connsiteX1" fmla="*/ 3565401 w 3873396"/>
                <a:gd name="connsiteY1" fmla="*/ 257442 h 257442"/>
                <a:gd name="connsiteX2" fmla="*/ 0 w 3873396"/>
                <a:gd name="connsiteY2" fmla="*/ 257442 h 257442"/>
                <a:gd name="connsiteX3" fmla="*/ 54721 w 3873396"/>
                <a:gd name="connsiteY3" fmla="*/ 0 h 257442"/>
                <a:gd name="connsiteX0" fmla="*/ 3873396 w 3873396"/>
                <a:gd name="connsiteY0" fmla="*/ 0 h 257442"/>
                <a:gd name="connsiteX1" fmla="*/ 3818675 w 3873396"/>
                <a:gd name="connsiteY1" fmla="*/ 257442 h 257442"/>
                <a:gd name="connsiteX2" fmla="*/ 0 w 3873396"/>
                <a:gd name="connsiteY2" fmla="*/ 257442 h 257442"/>
                <a:gd name="connsiteX3" fmla="*/ 54721 w 3873396"/>
                <a:gd name="connsiteY3" fmla="*/ 0 h 257442"/>
                <a:gd name="connsiteX0" fmla="*/ 3873396 w 3873396"/>
                <a:gd name="connsiteY0" fmla="*/ 0 h 257442"/>
                <a:gd name="connsiteX1" fmla="*/ 3818675 w 3873396"/>
                <a:gd name="connsiteY1" fmla="*/ 257442 h 257442"/>
                <a:gd name="connsiteX2" fmla="*/ 0 w 3873396"/>
                <a:gd name="connsiteY2" fmla="*/ 257442 h 257442"/>
                <a:gd name="connsiteX3" fmla="*/ 54721 w 3873396"/>
                <a:gd name="connsiteY3" fmla="*/ 0 h 257442"/>
                <a:gd name="connsiteX0" fmla="*/ 3873396 w 3873396"/>
                <a:gd name="connsiteY0" fmla="*/ 0 h 257442"/>
                <a:gd name="connsiteX1" fmla="*/ 3818675 w 3873396"/>
                <a:gd name="connsiteY1" fmla="*/ 257442 h 257442"/>
                <a:gd name="connsiteX2" fmla="*/ 0 w 3873396"/>
                <a:gd name="connsiteY2" fmla="*/ 257442 h 257442"/>
                <a:gd name="connsiteX3" fmla="*/ 54721 w 3873396"/>
                <a:gd name="connsiteY3" fmla="*/ 0 h 257442"/>
                <a:gd name="connsiteX0" fmla="*/ 3721110 w 3818675"/>
                <a:gd name="connsiteY0" fmla="*/ 0 h 257442"/>
                <a:gd name="connsiteX1" fmla="*/ 3818675 w 3818675"/>
                <a:gd name="connsiteY1" fmla="*/ 257442 h 257442"/>
                <a:gd name="connsiteX2" fmla="*/ 0 w 3818675"/>
                <a:gd name="connsiteY2" fmla="*/ 257442 h 257442"/>
                <a:gd name="connsiteX3" fmla="*/ 54721 w 3818675"/>
                <a:gd name="connsiteY3" fmla="*/ 0 h 257442"/>
                <a:gd name="connsiteX0" fmla="*/ 3721110 w 3721110"/>
                <a:gd name="connsiteY0" fmla="*/ 0 h 257442"/>
                <a:gd name="connsiteX1" fmla="*/ 3666390 w 3721110"/>
                <a:gd name="connsiteY1" fmla="*/ 257442 h 257442"/>
                <a:gd name="connsiteX2" fmla="*/ 0 w 3721110"/>
                <a:gd name="connsiteY2" fmla="*/ 257442 h 257442"/>
                <a:gd name="connsiteX3" fmla="*/ 54721 w 3721110"/>
                <a:gd name="connsiteY3" fmla="*/ 0 h 257442"/>
                <a:gd name="connsiteX0" fmla="*/ 3721109 w 3721109"/>
                <a:gd name="connsiteY0" fmla="*/ 0 h 257442"/>
                <a:gd name="connsiteX1" fmla="*/ 3666389 w 3721109"/>
                <a:gd name="connsiteY1" fmla="*/ 257442 h 257442"/>
                <a:gd name="connsiteX2" fmla="*/ 0 w 3721109"/>
                <a:gd name="connsiteY2" fmla="*/ 257442 h 257442"/>
                <a:gd name="connsiteX3" fmla="*/ 54720 w 3721109"/>
                <a:gd name="connsiteY3" fmla="*/ 0 h 257442"/>
                <a:gd name="connsiteX0" fmla="*/ 3721109 w 3721109"/>
                <a:gd name="connsiteY0" fmla="*/ 0 h 257442"/>
                <a:gd name="connsiteX1" fmla="*/ 3666389 w 3721109"/>
                <a:gd name="connsiteY1" fmla="*/ 257442 h 257442"/>
                <a:gd name="connsiteX2" fmla="*/ 0 w 3721109"/>
                <a:gd name="connsiteY2" fmla="*/ 257442 h 257442"/>
                <a:gd name="connsiteX3" fmla="*/ 54721 w 3721109"/>
                <a:gd name="connsiteY3" fmla="*/ 0 h 257442"/>
                <a:gd name="connsiteX0" fmla="*/ 3451806 w 3666389"/>
                <a:gd name="connsiteY0" fmla="*/ 0 h 257442"/>
                <a:gd name="connsiteX1" fmla="*/ 3666389 w 3666389"/>
                <a:gd name="connsiteY1" fmla="*/ 257442 h 257442"/>
                <a:gd name="connsiteX2" fmla="*/ 0 w 3666389"/>
                <a:gd name="connsiteY2" fmla="*/ 257442 h 257442"/>
                <a:gd name="connsiteX3" fmla="*/ 54721 w 3666389"/>
                <a:gd name="connsiteY3" fmla="*/ 0 h 257442"/>
                <a:gd name="connsiteX0" fmla="*/ 3451806 w 3451806"/>
                <a:gd name="connsiteY0" fmla="*/ 0 h 257442"/>
                <a:gd name="connsiteX1" fmla="*/ 3397085 w 3451806"/>
                <a:gd name="connsiteY1" fmla="*/ 257442 h 257442"/>
                <a:gd name="connsiteX2" fmla="*/ 0 w 3451806"/>
                <a:gd name="connsiteY2" fmla="*/ 257442 h 257442"/>
                <a:gd name="connsiteX3" fmla="*/ 54721 w 3451806"/>
                <a:gd name="connsiteY3" fmla="*/ 0 h 257442"/>
                <a:gd name="connsiteX0" fmla="*/ 3451806 w 3451806"/>
                <a:gd name="connsiteY0" fmla="*/ 0 h 257442"/>
                <a:gd name="connsiteX1" fmla="*/ 3397085 w 3451806"/>
                <a:gd name="connsiteY1" fmla="*/ 257442 h 257442"/>
                <a:gd name="connsiteX2" fmla="*/ 0 w 3451806"/>
                <a:gd name="connsiteY2" fmla="*/ 257442 h 257442"/>
                <a:gd name="connsiteX3" fmla="*/ 54721 w 3451806"/>
                <a:gd name="connsiteY3" fmla="*/ 0 h 257442"/>
                <a:gd name="connsiteX0" fmla="*/ 3451806 w 3451806"/>
                <a:gd name="connsiteY0" fmla="*/ 0 h 257442"/>
                <a:gd name="connsiteX1" fmla="*/ 3397085 w 3451806"/>
                <a:gd name="connsiteY1" fmla="*/ 257442 h 257442"/>
                <a:gd name="connsiteX2" fmla="*/ 0 w 3451806"/>
                <a:gd name="connsiteY2" fmla="*/ 257442 h 257442"/>
                <a:gd name="connsiteX3" fmla="*/ 54721 w 3451806"/>
                <a:gd name="connsiteY3" fmla="*/ 0 h 257442"/>
                <a:gd name="connsiteX0" fmla="*/ 3277784 w 3397085"/>
                <a:gd name="connsiteY0" fmla="*/ 0 h 257442"/>
                <a:gd name="connsiteX1" fmla="*/ 3397085 w 3397085"/>
                <a:gd name="connsiteY1" fmla="*/ 257442 h 257442"/>
                <a:gd name="connsiteX2" fmla="*/ 0 w 3397085"/>
                <a:gd name="connsiteY2" fmla="*/ 257442 h 257442"/>
                <a:gd name="connsiteX3" fmla="*/ 54721 w 3397085"/>
                <a:gd name="connsiteY3" fmla="*/ 0 h 257442"/>
                <a:gd name="connsiteX0" fmla="*/ 3277784 w 3277784"/>
                <a:gd name="connsiteY0" fmla="*/ 0 h 257442"/>
                <a:gd name="connsiteX1" fmla="*/ 3223064 w 3277784"/>
                <a:gd name="connsiteY1" fmla="*/ 257442 h 257442"/>
                <a:gd name="connsiteX2" fmla="*/ 0 w 3277784"/>
                <a:gd name="connsiteY2" fmla="*/ 257442 h 257442"/>
                <a:gd name="connsiteX3" fmla="*/ 54721 w 3277784"/>
                <a:gd name="connsiteY3" fmla="*/ 0 h 257442"/>
                <a:gd name="connsiteX0" fmla="*/ 3277783 w 3277783"/>
                <a:gd name="connsiteY0" fmla="*/ 0 h 257442"/>
                <a:gd name="connsiteX1" fmla="*/ 3223063 w 3277783"/>
                <a:gd name="connsiteY1" fmla="*/ 257442 h 257442"/>
                <a:gd name="connsiteX2" fmla="*/ 0 w 3277783"/>
                <a:gd name="connsiteY2" fmla="*/ 257442 h 257442"/>
                <a:gd name="connsiteX3" fmla="*/ 54720 w 3277783"/>
                <a:gd name="connsiteY3" fmla="*/ 0 h 257442"/>
                <a:gd name="connsiteX0" fmla="*/ 3277783 w 3277783"/>
                <a:gd name="connsiteY0" fmla="*/ 0 h 257442"/>
                <a:gd name="connsiteX1" fmla="*/ 3223063 w 3277783"/>
                <a:gd name="connsiteY1" fmla="*/ 257442 h 257442"/>
                <a:gd name="connsiteX2" fmla="*/ 0 w 3277783"/>
                <a:gd name="connsiteY2" fmla="*/ 257442 h 257442"/>
                <a:gd name="connsiteX3" fmla="*/ 54721 w 3277783"/>
                <a:gd name="connsiteY3" fmla="*/ 0 h 257442"/>
                <a:gd name="connsiteX0" fmla="*/ 3126525 w 3223063"/>
                <a:gd name="connsiteY0" fmla="*/ 0 h 257442"/>
                <a:gd name="connsiteX1" fmla="*/ 3223063 w 3223063"/>
                <a:gd name="connsiteY1" fmla="*/ 257442 h 257442"/>
                <a:gd name="connsiteX2" fmla="*/ 0 w 3223063"/>
                <a:gd name="connsiteY2" fmla="*/ 257442 h 257442"/>
                <a:gd name="connsiteX3" fmla="*/ 54721 w 3223063"/>
                <a:gd name="connsiteY3" fmla="*/ 0 h 257442"/>
                <a:gd name="connsiteX0" fmla="*/ 3126525 w 3126525"/>
                <a:gd name="connsiteY0" fmla="*/ 0 h 257442"/>
                <a:gd name="connsiteX1" fmla="*/ 3071804 w 3126525"/>
                <a:gd name="connsiteY1" fmla="*/ 257442 h 257442"/>
                <a:gd name="connsiteX2" fmla="*/ 0 w 3126525"/>
                <a:gd name="connsiteY2" fmla="*/ 257442 h 257442"/>
                <a:gd name="connsiteX3" fmla="*/ 54721 w 3126525"/>
                <a:gd name="connsiteY3" fmla="*/ 0 h 257442"/>
                <a:gd name="connsiteX0" fmla="*/ 3126525 w 3126525"/>
                <a:gd name="connsiteY0" fmla="*/ 0 h 257442"/>
                <a:gd name="connsiteX1" fmla="*/ 3071804 w 3126525"/>
                <a:gd name="connsiteY1" fmla="*/ 257442 h 257442"/>
                <a:gd name="connsiteX2" fmla="*/ 0 w 3126525"/>
                <a:gd name="connsiteY2" fmla="*/ 257442 h 257442"/>
                <a:gd name="connsiteX3" fmla="*/ 54721 w 3126525"/>
                <a:gd name="connsiteY3" fmla="*/ 0 h 257442"/>
                <a:gd name="connsiteX0" fmla="*/ 3126525 w 3126525"/>
                <a:gd name="connsiteY0" fmla="*/ 0 h 257442"/>
                <a:gd name="connsiteX1" fmla="*/ 3071804 w 3126525"/>
                <a:gd name="connsiteY1" fmla="*/ 257442 h 257442"/>
                <a:gd name="connsiteX2" fmla="*/ 0 w 3126525"/>
                <a:gd name="connsiteY2" fmla="*/ 257442 h 257442"/>
                <a:gd name="connsiteX3" fmla="*/ 54721 w 3126525"/>
                <a:gd name="connsiteY3" fmla="*/ 0 h 257442"/>
                <a:gd name="connsiteX0" fmla="*/ 3384416 w 3384416"/>
                <a:gd name="connsiteY0" fmla="*/ 0 h 257442"/>
                <a:gd name="connsiteX1" fmla="*/ 3071804 w 3384416"/>
                <a:gd name="connsiteY1" fmla="*/ 257442 h 257442"/>
                <a:gd name="connsiteX2" fmla="*/ 0 w 3384416"/>
                <a:gd name="connsiteY2" fmla="*/ 257442 h 257442"/>
                <a:gd name="connsiteX3" fmla="*/ 54721 w 3384416"/>
                <a:gd name="connsiteY3" fmla="*/ 0 h 257442"/>
                <a:gd name="connsiteX0" fmla="*/ 3384416 w 3384416"/>
                <a:gd name="connsiteY0" fmla="*/ 0 h 257442"/>
                <a:gd name="connsiteX1" fmla="*/ 3329694 w 3384416"/>
                <a:gd name="connsiteY1" fmla="*/ 257442 h 257442"/>
                <a:gd name="connsiteX2" fmla="*/ 0 w 3384416"/>
                <a:gd name="connsiteY2" fmla="*/ 257442 h 257442"/>
                <a:gd name="connsiteX3" fmla="*/ 54721 w 3384416"/>
                <a:gd name="connsiteY3" fmla="*/ 0 h 257442"/>
                <a:gd name="connsiteX0" fmla="*/ 3384417 w 3384417"/>
                <a:gd name="connsiteY0" fmla="*/ 0 h 257442"/>
                <a:gd name="connsiteX1" fmla="*/ 3329695 w 3384417"/>
                <a:gd name="connsiteY1" fmla="*/ 257442 h 257442"/>
                <a:gd name="connsiteX2" fmla="*/ 0 w 3384417"/>
                <a:gd name="connsiteY2" fmla="*/ 257442 h 257442"/>
                <a:gd name="connsiteX3" fmla="*/ 54722 w 3384417"/>
                <a:gd name="connsiteY3" fmla="*/ 0 h 257442"/>
                <a:gd name="connsiteX0" fmla="*/ 3384417 w 3384417"/>
                <a:gd name="connsiteY0" fmla="*/ 0 h 257442"/>
                <a:gd name="connsiteX1" fmla="*/ 3329695 w 3384417"/>
                <a:gd name="connsiteY1" fmla="*/ 257442 h 257442"/>
                <a:gd name="connsiteX2" fmla="*/ 0 w 3384417"/>
                <a:gd name="connsiteY2" fmla="*/ 257442 h 257442"/>
                <a:gd name="connsiteX3" fmla="*/ 54722 w 3384417"/>
                <a:gd name="connsiteY3" fmla="*/ 0 h 257442"/>
                <a:gd name="connsiteX0" fmla="*/ 3558439 w 3558439"/>
                <a:gd name="connsiteY0" fmla="*/ 0 h 257442"/>
                <a:gd name="connsiteX1" fmla="*/ 3329695 w 3558439"/>
                <a:gd name="connsiteY1" fmla="*/ 257442 h 257442"/>
                <a:gd name="connsiteX2" fmla="*/ 0 w 3558439"/>
                <a:gd name="connsiteY2" fmla="*/ 257442 h 257442"/>
                <a:gd name="connsiteX3" fmla="*/ 54722 w 3558439"/>
                <a:gd name="connsiteY3" fmla="*/ 0 h 257442"/>
                <a:gd name="connsiteX0" fmla="*/ 3558439 w 3558439"/>
                <a:gd name="connsiteY0" fmla="*/ 0 h 257442"/>
                <a:gd name="connsiteX1" fmla="*/ 3503718 w 3558439"/>
                <a:gd name="connsiteY1" fmla="*/ 257442 h 257442"/>
                <a:gd name="connsiteX2" fmla="*/ 0 w 3558439"/>
                <a:gd name="connsiteY2" fmla="*/ 257442 h 257442"/>
                <a:gd name="connsiteX3" fmla="*/ 54722 w 3558439"/>
                <a:gd name="connsiteY3" fmla="*/ 0 h 257442"/>
                <a:gd name="connsiteX0" fmla="*/ 3558438 w 3558438"/>
                <a:gd name="connsiteY0" fmla="*/ 0 h 257442"/>
                <a:gd name="connsiteX1" fmla="*/ 3503717 w 3558438"/>
                <a:gd name="connsiteY1" fmla="*/ 257442 h 257442"/>
                <a:gd name="connsiteX2" fmla="*/ 0 w 3558438"/>
                <a:gd name="connsiteY2" fmla="*/ 257442 h 257442"/>
                <a:gd name="connsiteX3" fmla="*/ 54721 w 3558438"/>
                <a:gd name="connsiteY3" fmla="*/ 0 h 257442"/>
                <a:gd name="connsiteX0" fmla="*/ 3558438 w 3558438"/>
                <a:gd name="connsiteY0" fmla="*/ 0 h 257442"/>
                <a:gd name="connsiteX1" fmla="*/ 3503717 w 3558438"/>
                <a:gd name="connsiteY1" fmla="*/ 257442 h 257442"/>
                <a:gd name="connsiteX2" fmla="*/ 0 w 3558438"/>
                <a:gd name="connsiteY2" fmla="*/ 257442 h 257442"/>
                <a:gd name="connsiteX3" fmla="*/ 54720 w 3558438"/>
                <a:gd name="connsiteY3" fmla="*/ 0 h 257442"/>
                <a:gd name="connsiteX0" fmla="*/ 3726752 w 3726752"/>
                <a:gd name="connsiteY0" fmla="*/ 0 h 257442"/>
                <a:gd name="connsiteX1" fmla="*/ 3503717 w 3726752"/>
                <a:gd name="connsiteY1" fmla="*/ 257442 h 257442"/>
                <a:gd name="connsiteX2" fmla="*/ 0 w 3726752"/>
                <a:gd name="connsiteY2" fmla="*/ 257442 h 257442"/>
                <a:gd name="connsiteX3" fmla="*/ 54720 w 3726752"/>
                <a:gd name="connsiteY3" fmla="*/ 0 h 257442"/>
                <a:gd name="connsiteX0" fmla="*/ 3726752 w 3726752"/>
                <a:gd name="connsiteY0" fmla="*/ 0 h 257442"/>
                <a:gd name="connsiteX1" fmla="*/ 3672031 w 3726752"/>
                <a:gd name="connsiteY1" fmla="*/ 257442 h 257442"/>
                <a:gd name="connsiteX2" fmla="*/ 0 w 3726752"/>
                <a:gd name="connsiteY2" fmla="*/ 257442 h 257442"/>
                <a:gd name="connsiteX3" fmla="*/ 54720 w 3726752"/>
                <a:gd name="connsiteY3" fmla="*/ 0 h 257442"/>
                <a:gd name="connsiteX0" fmla="*/ 3726753 w 3726753"/>
                <a:gd name="connsiteY0" fmla="*/ 0 h 257442"/>
                <a:gd name="connsiteX1" fmla="*/ 3672032 w 3726753"/>
                <a:gd name="connsiteY1" fmla="*/ 257442 h 257442"/>
                <a:gd name="connsiteX2" fmla="*/ 0 w 3726753"/>
                <a:gd name="connsiteY2" fmla="*/ 257442 h 257442"/>
                <a:gd name="connsiteX3" fmla="*/ 54721 w 3726753"/>
                <a:gd name="connsiteY3" fmla="*/ 0 h 257442"/>
                <a:gd name="connsiteX0" fmla="*/ 3726753 w 3726753"/>
                <a:gd name="connsiteY0" fmla="*/ 0 h 257442"/>
                <a:gd name="connsiteX1" fmla="*/ 3672032 w 3726753"/>
                <a:gd name="connsiteY1" fmla="*/ 257442 h 257442"/>
                <a:gd name="connsiteX2" fmla="*/ 0 w 3726753"/>
                <a:gd name="connsiteY2" fmla="*/ 257442 h 257442"/>
                <a:gd name="connsiteX3" fmla="*/ 54722 w 3726753"/>
                <a:gd name="connsiteY3" fmla="*/ 0 h 257442"/>
                <a:gd name="connsiteX0" fmla="*/ 3980028 w 3980028"/>
                <a:gd name="connsiteY0" fmla="*/ 0 h 257442"/>
                <a:gd name="connsiteX1" fmla="*/ 3672032 w 3980028"/>
                <a:gd name="connsiteY1" fmla="*/ 257442 h 257442"/>
                <a:gd name="connsiteX2" fmla="*/ 0 w 3980028"/>
                <a:gd name="connsiteY2" fmla="*/ 257442 h 257442"/>
                <a:gd name="connsiteX3" fmla="*/ 54722 w 3980028"/>
                <a:gd name="connsiteY3" fmla="*/ 0 h 257442"/>
                <a:gd name="connsiteX0" fmla="*/ 3980028 w 3980028"/>
                <a:gd name="connsiteY0" fmla="*/ 0 h 257442"/>
                <a:gd name="connsiteX1" fmla="*/ 3925306 w 3980028"/>
                <a:gd name="connsiteY1" fmla="*/ 257442 h 257442"/>
                <a:gd name="connsiteX2" fmla="*/ 0 w 3980028"/>
                <a:gd name="connsiteY2" fmla="*/ 257442 h 257442"/>
                <a:gd name="connsiteX3" fmla="*/ 54722 w 3980028"/>
                <a:gd name="connsiteY3" fmla="*/ 0 h 257442"/>
                <a:gd name="connsiteX0" fmla="*/ 3980028 w 3980028"/>
                <a:gd name="connsiteY0" fmla="*/ 0 h 257442"/>
                <a:gd name="connsiteX1" fmla="*/ 3925306 w 3980028"/>
                <a:gd name="connsiteY1" fmla="*/ 257442 h 257442"/>
                <a:gd name="connsiteX2" fmla="*/ 0 w 3980028"/>
                <a:gd name="connsiteY2" fmla="*/ 257442 h 257442"/>
                <a:gd name="connsiteX3" fmla="*/ 54722 w 3980028"/>
                <a:gd name="connsiteY3" fmla="*/ 0 h 257442"/>
                <a:gd name="connsiteX0" fmla="*/ 3980028 w 3980028"/>
                <a:gd name="connsiteY0" fmla="*/ 0 h 257442"/>
                <a:gd name="connsiteX1" fmla="*/ 3925306 w 3980028"/>
                <a:gd name="connsiteY1" fmla="*/ 257442 h 257442"/>
                <a:gd name="connsiteX2" fmla="*/ 0 w 3980028"/>
                <a:gd name="connsiteY2" fmla="*/ 257442 h 257442"/>
                <a:gd name="connsiteX3" fmla="*/ 54721 w 3980028"/>
                <a:gd name="connsiteY3" fmla="*/ 0 h 257442"/>
                <a:gd name="connsiteX0" fmla="*/ 4140328 w 4140328"/>
                <a:gd name="connsiteY0" fmla="*/ 0 h 257442"/>
                <a:gd name="connsiteX1" fmla="*/ 3925306 w 4140328"/>
                <a:gd name="connsiteY1" fmla="*/ 257442 h 257442"/>
                <a:gd name="connsiteX2" fmla="*/ 0 w 4140328"/>
                <a:gd name="connsiteY2" fmla="*/ 257442 h 257442"/>
                <a:gd name="connsiteX3" fmla="*/ 54721 w 4140328"/>
                <a:gd name="connsiteY3" fmla="*/ 0 h 257442"/>
                <a:gd name="connsiteX0" fmla="*/ 4140328 w 4140328"/>
                <a:gd name="connsiteY0" fmla="*/ 0 h 257442"/>
                <a:gd name="connsiteX1" fmla="*/ 4085607 w 4140328"/>
                <a:gd name="connsiteY1" fmla="*/ 257442 h 257442"/>
                <a:gd name="connsiteX2" fmla="*/ 0 w 4140328"/>
                <a:gd name="connsiteY2" fmla="*/ 257442 h 257442"/>
                <a:gd name="connsiteX3" fmla="*/ 54721 w 4140328"/>
                <a:gd name="connsiteY3" fmla="*/ 0 h 257442"/>
                <a:gd name="connsiteX0" fmla="*/ 4140328 w 4140328"/>
                <a:gd name="connsiteY0" fmla="*/ 0 h 257442"/>
                <a:gd name="connsiteX1" fmla="*/ 4085607 w 4140328"/>
                <a:gd name="connsiteY1" fmla="*/ 257442 h 257442"/>
                <a:gd name="connsiteX2" fmla="*/ 0 w 4140328"/>
                <a:gd name="connsiteY2" fmla="*/ 257442 h 257442"/>
                <a:gd name="connsiteX3" fmla="*/ 54721 w 4140328"/>
                <a:gd name="connsiteY3" fmla="*/ 0 h 257442"/>
                <a:gd name="connsiteX0" fmla="*/ 4140328 w 4140328"/>
                <a:gd name="connsiteY0" fmla="*/ 0 h 257442"/>
                <a:gd name="connsiteX1" fmla="*/ 4085607 w 4140328"/>
                <a:gd name="connsiteY1" fmla="*/ 257442 h 257442"/>
                <a:gd name="connsiteX2" fmla="*/ 0 w 4140328"/>
                <a:gd name="connsiteY2" fmla="*/ 257442 h 257442"/>
                <a:gd name="connsiteX3" fmla="*/ 54721 w 4140328"/>
                <a:gd name="connsiteY3" fmla="*/ 0 h 257442"/>
                <a:gd name="connsiteX0" fmla="*/ 4302936 w 4302936"/>
                <a:gd name="connsiteY0" fmla="*/ 0 h 257442"/>
                <a:gd name="connsiteX1" fmla="*/ 4085607 w 4302936"/>
                <a:gd name="connsiteY1" fmla="*/ 257442 h 257442"/>
                <a:gd name="connsiteX2" fmla="*/ 0 w 4302936"/>
                <a:gd name="connsiteY2" fmla="*/ 257442 h 257442"/>
                <a:gd name="connsiteX3" fmla="*/ 54721 w 4302936"/>
                <a:gd name="connsiteY3" fmla="*/ 0 h 257442"/>
                <a:gd name="connsiteX0" fmla="*/ 4302936 w 4302936"/>
                <a:gd name="connsiteY0" fmla="*/ 0 h 257442"/>
                <a:gd name="connsiteX1" fmla="*/ 4248215 w 4302936"/>
                <a:gd name="connsiteY1" fmla="*/ 257442 h 257442"/>
                <a:gd name="connsiteX2" fmla="*/ 0 w 4302936"/>
                <a:gd name="connsiteY2" fmla="*/ 257442 h 257442"/>
                <a:gd name="connsiteX3" fmla="*/ 54721 w 4302936"/>
                <a:gd name="connsiteY3" fmla="*/ 0 h 257442"/>
                <a:gd name="connsiteX0" fmla="*/ 4302936 w 4302936"/>
                <a:gd name="connsiteY0" fmla="*/ 0 h 257442"/>
                <a:gd name="connsiteX1" fmla="*/ 4248215 w 4302936"/>
                <a:gd name="connsiteY1" fmla="*/ 257442 h 257442"/>
                <a:gd name="connsiteX2" fmla="*/ 0 w 4302936"/>
                <a:gd name="connsiteY2" fmla="*/ 257442 h 257442"/>
                <a:gd name="connsiteX3" fmla="*/ 54721 w 4302936"/>
                <a:gd name="connsiteY3" fmla="*/ 0 h 257442"/>
                <a:gd name="connsiteX0" fmla="*/ 4302936 w 4302936"/>
                <a:gd name="connsiteY0" fmla="*/ 0 h 257442"/>
                <a:gd name="connsiteX1" fmla="*/ 4248215 w 4302936"/>
                <a:gd name="connsiteY1" fmla="*/ 257442 h 257442"/>
                <a:gd name="connsiteX2" fmla="*/ 0 w 4302936"/>
                <a:gd name="connsiteY2" fmla="*/ 257442 h 257442"/>
                <a:gd name="connsiteX3" fmla="*/ 54721 w 4302936"/>
                <a:gd name="connsiteY3" fmla="*/ 0 h 257442"/>
                <a:gd name="connsiteX0" fmla="*/ 4476958 w 4476958"/>
                <a:gd name="connsiteY0" fmla="*/ 0 h 257442"/>
                <a:gd name="connsiteX1" fmla="*/ 4248215 w 4476958"/>
                <a:gd name="connsiteY1" fmla="*/ 257442 h 257442"/>
                <a:gd name="connsiteX2" fmla="*/ 0 w 4476958"/>
                <a:gd name="connsiteY2" fmla="*/ 257442 h 257442"/>
                <a:gd name="connsiteX3" fmla="*/ 54721 w 4476958"/>
                <a:gd name="connsiteY3" fmla="*/ 0 h 257442"/>
                <a:gd name="connsiteX0" fmla="*/ 4476958 w 4476958"/>
                <a:gd name="connsiteY0" fmla="*/ 0 h 257442"/>
                <a:gd name="connsiteX1" fmla="*/ 4422237 w 4476958"/>
                <a:gd name="connsiteY1" fmla="*/ 257442 h 257442"/>
                <a:gd name="connsiteX2" fmla="*/ 0 w 4476958"/>
                <a:gd name="connsiteY2" fmla="*/ 257442 h 257442"/>
                <a:gd name="connsiteX3" fmla="*/ 54721 w 4476958"/>
                <a:gd name="connsiteY3" fmla="*/ 0 h 257442"/>
                <a:gd name="connsiteX0" fmla="*/ 4476958 w 4476958"/>
                <a:gd name="connsiteY0" fmla="*/ 0 h 257442"/>
                <a:gd name="connsiteX1" fmla="*/ 4422237 w 4476958"/>
                <a:gd name="connsiteY1" fmla="*/ 257442 h 257442"/>
                <a:gd name="connsiteX2" fmla="*/ 0 w 4476958"/>
                <a:gd name="connsiteY2" fmla="*/ 257442 h 257442"/>
                <a:gd name="connsiteX3" fmla="*/ 54721 w 4476958"/>
                <a:gd name="connsiteY3" fmla="*/ 0 h 257442"/>
                <a:gd name="connsiteX0" fmla="*/ 4476958 w 4476958"/>
                <a:gd name="connsiteY0" fmla="*/ 0 h 257442"/>
                <a:gd name="connsiteX1" fmla="*/ 4422237 w 4476958"/>
                <a:gd name="connsiteY1" fmla="*/ 257442 h 257442"/>
                <a:gd name="connsiteX2" fmla="*/ 0 w 4476958"/>
                <a:gd name="connsiteY2" fmla="*/ 257442 h 257442"/>
                <a:gd name="connsiteX3" fmla="*/ 54721 w 4476958"/>
                <a:gd name="connsiteY3" fmla="*/ 0 h 257442"/>
                <a:gd name="connsiteX0" fmla="*/ 4645274 w 4645274"/>
                <a:gd name="connsiteY0" fmla="*/ 0 h 257442"/>
                <a:gd name="connsiteX1" fmla="*/ 4422237 w 4645274"/>
                <a:gd name="connsiteY1" fmla="*/ 257442 h 257442"/>
                <a:gd name="connsiteX2" fmla="*/ 0 w 4645274"/>
                <a:gd name="connsiteY2" fmla="*/ 257442 h 257442"/>
                <a:gd name="connsiteX3" fmla="*/ 54721 w 4645274"/>
                <a:gd name="connsiteY3" fmla="*/ 0 h 257442"/>
                <a:gd name="connsiteX0" fmla="*/ 4645274 w 4645274"/>
                <a:gd name="connsiteY0" fmla="*/ 0 h 257442"/>
                <a:gd name="connsiteX1" fmla="*/ 4590553 w 4645274"/>
                <a:gd name="connsiteY1" fmla="*/ 257442 h 257442"/>
                <a:gd name="connsiteX2" fmla="*/ 0 w 4645274"/>
                <a:gd name="connsiteY2" fmla="*/ 257442 h 257442"/>
                <a:gd name="connsiteX3" fmla="*/ 54721 w 4645274"/>
                <a:gd name="connsiteY3" fmla="*/ 0 h 257442"/>
                <a:gd name="connsiteX0" fmla="*/ 4645274 w 4645274"/>
                <a:gd name="connsiteY0" fmla="*/ 0 h 257442"/>
                <a:gd name="connsiteX1" fmla="*/ 4590553 w 4645274"/>
                <a:gd name="connsiteY1" fmla="*/ 257442 h 257442"/>
                <a:gd name="connsiteX2" fmla="*/ 0 w 4645274"/>
                <a:gd name="connsiteY2" fmla="*/ 257442 h 257442"/>
                <a:gd name="connsiteX3" fmla="*/ 54721 w 4645274"/>
                <a:gd name="connsiteY3" fmla="*/ 0 h 257442"/>
                <a:gd name="connsiteX0" fmla="*/ 4645274 w 4645274"/>
                <a:gd name="connsiteY0" fmla="*/ 0 h 257442"/>
                <a:gd name="connsiteX1" fmla="*/ 4590553 w 4645274"/>
                <a:gd name="connsiteY1" fmla="*/ 257442 h 257442"/>
                <a:gd name="connsiteX2" fmla="*/ 0 w 4645274"/>
                <a:gd name="connsiteY2" fmla="*/ 257442 h 257442"/>
                <a:gd name="connsiteX3" fmla="*/ 54721 w 4645274"/>
                <a:gd name="connsiteY3" fmla="*/ 0 h 257442"/>
                <a:gd name="connsiteX0" fmla="*/ 4813589 w 4813589"/>
                <a:gd name="connsiteY0" fmla="*/ 0 h 257442"/>
                <a:gd name="connsiteX1" fmla="*/ 4590553 w 4813589"/>
                <a:gd name="connsiteY1" fmla="*/ 257442 h 257442"/>
                <a:gd name="connsiteX2" fmla="*/ 0 w 4813589"/>
                <a:gd name="connsiteY2" fmla="*/ 257442 h 257442"/>
                <a:gd name="connsiteX3" fmla="*/ 54721 w 4813589"/>
                <a:gd name="connsiteY3" fmla="*/ 0 h 257442"/>
                <a:gd name="connsiteX0" fmla="*/ 4813589 w 4813589"/>
                <a:gd name="connsiteY0" fmla="*/ 0 h 257442"/>
                <a:gd name="connsiteX1" fmla="*/ 4758868 w 4813589"/>
                <a:gd name="connsiteY1" fmla="*/ 257442 h 257442"/>
                <a:gd name="connsiteX2" fmla="*/ 0 w 4813589"/>
                <a:gd name="connsiteY2" fmla="*/ 257442 h 257442"/>
                <a:gd name="connsiteX3" fmla="*/ 54721 w 4813589"/>
                <a:gd name="connsiteY3" fmla="*/ 0 h 257442"/>
                <a:gd name="connsiteX0" fmla="*/ 4813589 w 4813589"/>
                <a:gd name="connsiteY0" fmla="*/ 0 h 257442"/>
                <a:gd name="connsiteX1" fmla="*/ 4758868 w 4813589"/>
                <a:gd name="connsiteY1" fmla="*/ 257442 h 257442"/>
                <a:gd name="connsiteX2" fmla="*/ 0 w 4813589"/>
                <a:gd name="connsiteY2" fmla="*/ 257442 h 257442"/>
                <a:gd name="connsiteX3" fmla="*/ 54721 w 4813589"/>
                <a:gd name="connsiteY3" fmla="*/ 0 h 257442"/>
                <a:gd name="connsiteX0" fmla="*/ 4813589 w 4813589"/>
                <a:gd name="connsiteY0" fmla="*/ 0 h 257442"/>
                <a:gd name="connsiteX1" fmla="*/ 4758868 w 4813589"/>
                <a:gd name="connsiteY1" fmla="*/ 257442 h 257442"/>
                <a:gd name="connsiteX2" fmla="*/ 0 w 4813589"/>
                <a:gd name="connsiteY2" fmla="*/ 257442 h 257442"/>
                <a:gd name="connsiteX3" fmla="*/ 54721 w 4813589"/>
                <a:gd name="connsiteY3" fmla="*/ 0 h 257442"/>
                <a:gd name="connsiteX0" fmla="*/ 4973888 w 4973888"/>
                <a:gd name="connsiteY0" fmla="*/ 0 h 257442"/>
                <a:gd name="connsiteX1" fmla="*/ 4758868 w 4973888"/>
                <a:gd name="connsiteY1" fmla="*/ 257442 h 257442"/>
                <a:gd name="connsiteX2" fmla="*/ 0 w 4973888"/>
                <a:gd name="connsiteY2" fmla="*/ 257442 h 257442"/>
                <a:gd name="connsiteX3" fmla="*/ 54721 w 4973888"/>
                <a:gd name="connsiteY3" fmla="*/ 0 h 257442"/>
                <a:gd name="connsiteX0" fmla="*/ 4973888 w 4973888"/>
                <a:gd name="connsiteY0" fmla="*/ 0 h 257442"/>
                <a:gd name="connsiteX1" fmla="*/ 4919167 w 4973888"/>
                <a:gd name="connsiteY1" fmla="*/ 257442 h 257442"/>
                <a:gd name="connsiteX2" fmla="*/ 0 w 4973888"/>
                <a:gd name="connsiteY2" fmla="*/ 257442 h 257442"/>
                <a:gd name="connsiteX3" fmla="*/ 54721 w 4973888"/>
                <a:gd name="connsiteY3" fmla="*/ 0 h 257442"/>
                <a:gd name="connsiteX0" fmla="*/ 4973889 w 4973889"/>
                <a:gd name="connsiteY0" fmla="*/ 0 h 257442"/>
                <a:gd name="connsiteX1" fmla="*/ 4919168 w 4973889"/>
                <a:gd name="connsiteY1" fmla="*/ 257442 h 257442"/>
                <a:gd name="connsiteX2" fmla="*/ 0 w 4973889"/>
                <a:gd name="connsiteY2" fmla="*/ 257442 h 257442"/>
                <a:gd name="connsiteX3" fmla="*/ 54722 w 4973889"/>
                <a:gd name="connsiteY3" fmla="*/ 0 h 257442"/>
                <a:gd name="connsiteX0" fmla="*/ 4973889 w 4973889"/>
                <a:gd name="connsiteY0" fmla="*/ 0 h 257442"/>
                <a:gd name="connsiteX1" fmla="*/ 4919168 w 4973889"/>
                <a:gd name="connsiteY1" fmla="*/ 257442 h 257442"/>
                <a:gd name="connsiteX2" fmla="*/ 0 w 4973889"/>
                <a:gd name="connsiteY2" fmla="*/ 257442 h 257442"/>
                <a:gd name="connsiteX3" fmla="*/ 54722 w 497388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73889" h="257442">
                  <a:moveTo>
                    <a:pt x="4973889" y="0"/>
                  </a:moveTo>
                  <a:lnTo>
                    <a:pt x="4919168" y="257442"/>
                  </a:lnTo>
                  <a:lnTo>
                    <a:pt x="0" y="257442"/>
                  </a:lnTo>
                  <a:lnTo>
                    <a:pt x="54722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5" name="btfpRunningAgenda2LevelTextRight116644">
              <a:extLst>
                <a:ext uri="{FF2B5EF4-FFF2-40B4-BE49-F238E27FC236}">
                  <a16:creationId xmlns:a16="http://schemas.microsoft.com/office/drawing/2014/main" id="{1184F2F5-0D91-4F7D-A0EF-A035B56C4EE1}"/>
                </a:ext>
              </a:extLst>
            </p:cNvPr>
            <p:cNvSpPr txBox="1"/>
            <p:nvPr/>
          </p:nvSpPr>
          <p:spPr bwMode="gray">
            <a:xfrm>
              <a:off x="3777410" y="876300"/>
              <a:ext cx="491916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FFFFFF"/>
                  </a:solidFill>
                </a:rPr>
                <a:t>Geography and tenure split</a:t>
              </a:r>
            </a:p>
          </p:txBody>
        </p:sp>
      </p:grpSp>
      <p:grpSp>
        <p:nvGrpSpPr>
          <p:cNvPr id="12" name="btfpStatusSticker469355">
            <a:extLst>
              <a:ext uri="{FF2B5EF4-FFF2-40B4-BE49-F238E27FC236}">
                <a16:creationId xmlns:a16="http://schemas.microsoft.com/office/drawing/2014/main" id="{E2AA8EF0-2C34-4530-8738-CCF144287A22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10" name="btfpStatusStickerText469355">
              <a:extLst>
                <a:ext uri="{FF2B5EF4-FFF2-40B4-BE49-F238E27FC236}">
                  <a16:creationId xmlns:a16="http://schemas.microsoft.com/office/drawing/2014/main" id="{B391B238-1559-4F42-8E78-1E5EAD00A78F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000000"/>
                  </a:solidFill>
                </a:rPr>
                <a:t>Preliminary</a:t>
              </a:r>
            </a:p>
          </p:txBody>
        </p:sp>
        <p:cxnSp>
          <p:nvCxnSpPr>
            <p:cNvPr id="11" name="btfpStatusStickerLine469355">
              <a:extLst>
                <a:ext uri="{FF2B5EF4-FFF2-40B4-BE49-F238E27FC236}">
                  <a16:creationId xmlns:a16="http://schemas.microsoft.com/office/drawing/2014/main" id="{E29C987B-48A2-428E-9A8D-F7708342B282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btfpColumnHeaderBox553786">
            <a:extLst>
              <a:ext uri="{FF2B5EF4-FFF2-40B4-BE49-F238E27FC236}">
                <a16:creationId xmlns:a16="http://schemas.microsoft.com/office/drawing/2014/main" id="{448563FE-61A4-455C-AB85-85A75AA86DB0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378296" y="1270000"/>
            <a:ext cx="3483504" cy="318997"/>
            <a:chOff x="8378296" y="1715997"/>
            <a:chExt cx="3483504" cy="318997"/>
          </a:xfrm>
        </p:grpSpPr>
        <p:sp>
          <p:nvSpPr>
            <p:cNvPr id="58" name="btfpColumnHeaderBoxText553786">
              <a:extLst>
                <a:ext uri="{FF2B5EF4-FFF2-40B4-BE49-F238E27FC236}">
                  <a16:creationId xmlns:a16="http://schemas.microsoft.com/office/drawing/2014/main" id="{644BD19C-A1A6-45B6-BC21-276A6D5B7538}"/>
                </a:ext>
              </a:extLst>
            </p:cNvPr>
            <p:cNvSpPr txBox="1"/>
            <p:nvPr/>
          </p:nvSpPr>
          <p:spPr bwMode="gray">
            <a:xfrm>
              <a:off x="8378296" y="1715997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Key takeaways</a:t>
              </a:r>
            </a:p>
          </p:txBody>
        </p:sp>
        <p:cxnSp>
          <p:nvCxnSpPr>
            <p:cNvPr id="59" name="btfpColumnHeaderBoxLine553786">
              <a:extLst>
                <a:ext uri="{FF2B5EF4-FFF2-40B4-BE49-F238E27FC236}">
                  <a16:creationId xmlns:a16="http://schemas.microsoft.com/office/drawing/2014/main" id="{E8F3BCFC-CC32-4A5A-89A5-6F1FDBC5DC03}"/>
                </a:ext>
              </a:extLst>
            </p:cNvPr>
            <p:cNvCxnSpPr/>
            <p:nvPr/>
          </p:nvCxnSpPr>
          <p:spPr bwMode="gray">
            <a:xfrm>
              <a:off x="8378296" y="2034994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" name="btfpBulletedList422906">
            <a:extLst>
              <a:ext uri="{FF2B5EF4-FFF2-40B4-BE49-F238E27FC236}">
                <a16:creationId xmlns:a16="http://schemas.microsoft.com/office/drawing/2014/main" id="{AF73AFD2-C748-4617-B5BE-0C1391121624}"/>
              </a:ext>
            </a:extLst>
          </p:cNvPr>
          <p:cNvSpPr/>
          <p:nvPr/>
        </p:nvSpPr>
        <p:spPr bwMode="gray">
          <a:xfrm>
            <a:off x="8378296" y="1606301"/>
            <a:ext cx="3488306" cy="3125372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6D6">
                    <a:alpha val="75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D6D6D6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en-US" sz="1100" dirty="0">
                <a:solidFill>
                  <a:srgbClr val="000000"/>
                </a:solidFill>
              </a:rPr>
              <a:t>As expected, majority of Target’s total R&amp;D headcount is dedicated to</a:t>
            </a:r>
            <a:r>
              <a:rPr lang="en-US" sz="1100" b="1" dirty="0">
                <a:solidFill>
                  <a:srgbClr val="000000"/>
                </a:solidFill>
              </a:rPr>
              <a:t> Engineering </a:t>
            </a:r>
            <a:r>
              <a:rPr lang="en-US" sz="1100" dirty="0">
                <a:solidFill>
                  <a:srgbClr val="000000"/>
                </a:solidFill>
              </a:rPr>
              <a:t>(~52%), </a:t>
            </a:r>
            <a:r>
              <a:rPr lang="en-US" sz="1100" b="1" dirty="0">
                <a:solidFill>
                  <a:srgbClr val="000000"/>
                </a:solidFill>
              </a:rPr>
              <a:t>Product</a:t>
            </a:r>
            <a:r>
              <a:rPr lang="en-US" sz="1100" dirty="0">
                <a:solidFill>
                  <a:srgbClr val="000000"/>
                </a:solidFill>
              </a:rPr>
              <a:t> (~16%), and </a:t>
            </a:r>
            <a:r>
              <a:rPr lang="en-US" sz="1100" b="1" dirty="0">
                <a:solidFill>
                  <a:srgbClr val="000000"/>
                </a:solidFill>
              </a:rPr>
              <a:t>QA</a:t>
            </a:r>
            <a:r>
              <a:rPr lang="en-US" sz="1100" dirty="0">
                <a:solidFill>
                  <a:srgbClr val="000000"/>
                </a:solidFill>
              </a:rPr>
              <a:t> roles (~14%)</a:t>
            </a:r>
          </a:p>
          <a:p>
            <a:pPr>
              <a:spcBef>
                <a:spcPts val="600"/>
              </a:spcBef>
            </a:pPr>
            <a:r>
              <a:rPr lang="en-US" sz="1100" dirty="0">
                <a:solidFill>
                  <a:srgbClr val="000000"/>
                </a:solidFill>
              </a:rPr>
              <a:t>Most of the R&amp;D FTEs are in the US, with a </a:t>
            </a:r>
            <a:r>
              <a:rPr lang="en-US" sz="1100" b="1" dirty="0">
                <a:solidFill>
                  <a:srgbClr val="000000"/>
                </a:solidFill>
              </a:rPr>
              <a:t>growing presence in Canada</a:t>
            </a:r>
            <a:r>
              <a:rPr lang="en-US" sz="1100" dirty="0">
                <a:solidFill>
                  <a:srgbClr val="000000"/>
                </a:solidFill>
              </a:rPr>
              <a:t> (~7% of R&amp;D FTEs) due to </a:t>
            </a:r>
            <a:r>
              <a:rPr lang="en-US" sz="1100" b="1" dirty="0">
                <a:solidFill>
                  <a:srgbClr val="000000"/>
                </a:solidFill>
              </a:rPr>
              <a:t>recent hiring, </a:t>
            </a:r>
            <a:r>
              <a:rPr lang="en-US" sz="1100" dirty="0">
                <a:solidFill>
                  <a:srgbClr val="000000"/>
                </a:solidFill>
              </a:rPr>
              <a:t>including </a:t>
            </a:r>
            <a:r>
              <a:rPr lang="en-US" sz="1100" b="1" dirty="0">
                <a:solidFill>
                  <a:srgbClr val="000000"/>
                </a:solidFill>
              </a:rPr>
              <a:t>4 leadership roles</a:t>
            </a:r>
          </a:p>
          <a:p>
            <a:pPr>
              <a:spcBef>
                <a:spcPts val="600"/>
              </a:spcBef>
            </a:pPr>
            <a:r>
              <a:rPr lang="en-US" sz="1100" dirty="0">
                <a:solidFill>
                  <a:schemeClr val="tx1"/>
                </a:solidFill>
              </a:rPr>
              <a:t>Target’s </a:t>
            </a:r>
            <a:r>
              <a:rPr lang="en-US" sz="1100" dirty="0">
                <a:solidFill>
                  <a:srgbClr val="000000"/>
                </a:solidFill>
              </a:rPr>
              <a:t>R&amp;D </a:t>
            </a:r>
            <a:r>
              <a:rPr lang="en-US" sz="1100" dirty="0">
                <a:solidFill>
                  <a:schemeClr val="tx1"/>
                </a:solidFill>
              </a:rPr>
              <a:t>team has an </a:t>
            </a:r>
            <a:r>
              <a:rPr lang="en-US" sz="1100" b="1" dirty="0">
                <a:solidFill>
                  <a:schemeClr val="tx1"/>
                </a:solidFill>
              </a:rPr>
              <a:t>average tenure of 6.2 years</a:t>
            </a:r>
            <a:r>
              <a:rPr lang="en-US" sz="1100" dirty="0">
                <a:solidFill>
                  <a:schemeClr val="tx1"/>
                </a:solidFill>
              </a:rPr>
              <a:t>. ~</a:t>
            </a:r>
            <a:r>
              <a:rPr lang="en-US" sz="1100" b="1" dirty="0">
                <a:solidFill>
                  <a:schemeClr val="tx1"/>
                </a:solidFill>
              </a:rPr>
              <a:t>44% of the team has been in the company for more than 5 years</a:t>
            </a:r>
            <a:endParaRPr lang="en-GB" sz="11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GB" sz="1100" b="1" dirty="0">
                <a:solidFill>
                  <a:schemeClr val="tx1"/>
                </a:solidFill>
              </a:rPr>
              <a:t>Six out of the thirteen current R&amp;D leaders </a:t>
            </a:r>
            <a:r>
              <a:rPr lang="en-GB" sz="1100" b="1" i="1" dirty="0">
                <a:solidFill>
                  <a:schemeClr val="tx1"/>
                </a:solidFill>
              </a:rPr>
              <a:t> </a:t>
            </a:r>
            <a:r>
              <a:rPr lang="en-GB" sz="1100" dirty="0">
                <a:solidFill>
                  <a:schemeClr val="tx1"/>
                </a:solidFill>
              </a:rPr>
              <a:t>(4 Directors, 1 SVP - Product Management, and the CTPO) </a:t>
            </a:r>
            <a:r>
              <a:rPr lang="en-GB" sz="1100" b="1" dirty="0">
                <a:solidFill>
                  <a:schemeClr val="tx1"/>
                </a:solidFill>
              </a:rPr>
              <a:t>were hired within the past 14 months</a:t>
            </a:r>
            <a:endParaRPr lang="en-US" sz="11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1100" dirty="0">
                <a:solidFill>
                  <a:schemeClr val="tx1"/>
                </a:solidFill>
              </a:rPr>
              <a:t>Target’s tech team has a </a:t>
            </a:r>
            <a:r>
              <a:rPr lang="en-US" sz="1100" b="1" dirty="0">
                <a:solidFill>
                  <a:schemeClr val="tx1"/>
                </a:solidFill>
              </a:rPr>
              <a:t>balanced Developer to QA ratio</a:t>
            </a:r>
            <a:r>
              <a:rPr lang="en-US" sz="1100" dirty="0">
                <a:solidFill>
                  <a:schemeClr val="tx1"/>
                </a:solidFill>
              </a:rPr>
              <a:t> whereas Developer to PM / Leadership ratios are slightly low (Target has more PMs/ leadership than expected)   </a:t>
            </a:r>
          </a:p>
          <a:p>
            <a:pPr lvl="1">
              <a:spcBef>
                <a:spcPts val="0"/>
              </a:spcBef>
            </a:pPr>
            <a:r>
              <a:rPr lang="en-US" sz="900" dirty="0">
                <a:solidFill>
                  <a:schemeClr val="tx1"/>
                </a:solidFill>
              </a:rPr>
              <a:t>Developers include </a:t>
            </a:r>
            <a:r>
              <a:rPr lang="en-US" sz="900" b="1" dirty="0">
                <a:solidFill>
                  <a:schemeClr val="tx1"/>
                </a:solidFill>
              </a:rPr>
              <a:t>7 Team Managers </a:t>
            </a:r>
            <a:r>
              <a:rPr lang="en-US" sz="900" dirty="0">
                <a:solidFill>
                  <a:schemeClr val="tx1"/>
                </a:solidFill>
              </a:rPr>
              <a:t>and </a:t>
            </a:r>
            <a:r>
              <a:rPr lang="en-US" sz="900" b="1" dirty="0">
                <a:solidFill>
                  <a:schemeClr val="tx1"/>
                </a:solidFill>
              </a:rPr>
              <a:t>3 Senior Managers</a:t>
            </a:r>
          </a:p>
        </p:txBody>
      </p:sp>
      <p:graphicFrame>
        <p:nvGraphicFramePr>
          <p:cNvPr id="55" name="btfpTable542144">
            <a:extLst>
              <a:ext uri="{FF2B5EF4-FFF2-40B4-BE49-F238E27FC236}">
                <a16:creationId xmlns:a16="http://schemas.microsoft.com/office/drawing/2014/main" id="{7EF7F351-2C7F-4FB7-8AB9-7761A0554C04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8543231" y="4933805"/>
          <a:ext cx="3313807" cy="1280465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605657">
                  <a:extLst>
                    <a:ext uri="{9D8B030D-6E8A-4147-A177-3AD203B41FA5}">
                      <a16:colId xmlns:a16="http://schemas.microsoft.com/office/drawing/2014/main" val="343241096"/>
                    </a:ext>
                  </a:extLst>
                </a:gridCol>
                <a:gridCol w="796006">
                  <a:extLst>
                    <a:ext uri="{9D8B030D-6E8A-4147-A177-3AD203B41FA5}">
                      <a16:colId xmlns:a16="http://schemas.microsoft.com/office/drawing/2014/main" val="3357186737"/>
                    </a:ext>
                  </a:extLst>
                </a:gridCol>
                <a:gridCol w="796006">
                  <a:extLst>
                    <a:ext uri="{9D8B030D-6E8A-4147-A177-3AD203B41FA5}">
                      <a16:colId xmlns:a16="http://schemas.microsoft.com/office/drawing/2014/main" val="2775325493"/>
                    </a:ext>
                  </a:extLst>
                </a:gridCol>
                <a:gridCol w="1116138">
                  <a:extLst>
                    <a:ext uri="{9D8B030D-6E8A-4147-A177-3AD203B41FA5}">
                      <a16:colId xmlns:a16="http://schemas.microsoft.com/office/drawing/2014/main" val="3164636187"/>
                    </a:ext>
                  </a:extLst>
                </a:gridCol>
              </a:tblGrid>
              <a:tr h="451928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FontTx/>
                        <a:buNone/>
                      </a:pPr>
                      <a:endParaRPr lang="en-US" sz="105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50" b="1"/>
                        <a:t>Dev.</a:t>
                      </a:r>
                      <a:r>
                        <a:rPr lang="en-US" sz="1000" b="1"/>
                        <a:t> to </a:t>
                      </a:r>
                      <a:r>
                        <a:rPr lang="en-US" sz="1050" b="1"/>
                        <a:t>Q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50" b="1"/>
                        <a:t>Dev. </a:t>
                      </a:r>
                      <a:r>
                        <a:rPr lang="en-US" sz="1000" b="1"/>
                        <a:t>to </a:t>
                      </a:r>
                      <a:r>
                        <a:rPr lang="en-US" sz="1050" b="1"/>
                        <a:t>PM</a:t>
                      </a:r>
                      <a:r>
                        <a:rPr lang="en-US" sz="1050" b="1" baseline="3000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050" b="1"/>
                        <a:t>Dev. to Leadership</a:t>
                      </a:r>
                      <a:r>
                        <a:rPr lang="en-US" sz="1050" b="1" baseline="30000"/>
                        <a:t>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72124911"/>
                  </a:ext>
                </a:extLst>
              </a:tr>
              <a:tr h="27617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50"/>
                        <a:t>Overall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50" b="1"/>
                        <a:t>3.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50" b="1"/>
                        <a:t>5.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50" b="1"/>
                        <a:t>5.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11035991"/>
                  </a:ext>
                </a:extLst>
              </a:tr>
              <a:tr h="27617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50"/>
                        <a:t>US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50"/>
                        <a:t>3.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50"/>
                        <a:t>4.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50"/>
                        <a:t>7.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85088256"/>
                  </a:ext>
                </a:extLst>
              </a:tr>
              <a:tr h="27617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50"/>
                        <a:t>Canada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50"/>
                        <a:t>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50"/>
                        <a:t>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1050"/>
                        <a:t>0.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98945815"/>
                  </a:ext>
                </a:extLst>
              </a:tr>
            </a:tbl>
          </a:graphicData>
        </a:graphic>
      </p:graphicFrame>
      <p:sp>
        <p:nvSpPr>
          <p:cNvPr id="18" name="Rectangle 17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hje5yuh4ZqNikExboSMu2t9eRhvurDVCL4zCOlXmOhfySdMYAjEtdKJ8Tg6e33yyZuf2q73SsT43T8SnTqvhgTqqLwO1iVWnDUKzeoKS7uvrOY6CasanrYrWmR33Fc6dhc2FseHTJN3e4p1kof9PsayLpvhQXDONL877vrO8vddkeZ7IjqbSsJhlb1T1ZLdnWC59nYVaFjTD6/AgUuBQvChB4moLQpVx9O/x5OsjueGvETibYGpy/b82MBqNPERe9/vORt1E0aL4AVJhXJZFAUE1GflQ2yz5dckVYaJhGSfLNZq6Plf3gEdyWyENrCmFSi2Rz6G22+PznAtmtlTb5Yc4/XR+zOvPRzFuYNhk+4awI/5tKluPqxg5+sfGNyT+//1BIadK/T7Zg/vgM2t5StmvIJUezWE6Cwm0+QDSKmDTZ9gKzObXXkNc12DqYIp+D9nfbN/hryIAOKeqTy3Tiaiggxrs87qLKQyNBQ+rZoCJsdQBHQFFHj6sWUe6mxCh6zGgfWKG2vMhNllz8mdBGe5hlYteaD7o1ytc6YpFVQ01uP3AtEtIssQcAbvUZaNpMtOWUG0j6en10QYMbOEcuv6nRxAhTAaobwkfiqog6A/Dxq3Wn4XQFt3vbi4Z7nS+RIgmQnWRO4lFFVGWNM8Oi4a4a27d4gix5o8D4RfOORW7yOdiiOMOlQqVVqQOTmDkyfRaaMyRPthRKGINJB3hcyHbdwMeUbeYhhH30SkWNWMXP1o+U5VP49TzLJqdhH25GAjnox0OgRlDzGG7i0WnCR6FHk2JZovJuvkIrEv4xzaRq7aAoBCANGQqk2UglsFoqtUur1lgKFLa8AzMr1Q0WPD1w6PBsXRwt6ZYSCxVOdofafG462eMBMhhHPiu2ZxwBdKpkTxW4V+eV29QPWZJX6OM8nTDVqAYY+rZKKItwDMMhd1ZfxR+1tC9TmccZ15TyeuUxTGse+38V59yI4FmkBzXBMfKUr91u1qXODnDmeAOvrovsgN8P4k7WFKHteEAvAqKV9XDjZfYW8KtFh7CKRhUEn2+C0MaPdI1MRKCkYI3wWHAieh2ONyzf16zM7nPi6Dttq/0KGZVjZWab3eV5pdnc1a48pgLpiQGZ/MC3RQeuJx4VFdVt/5jkzC43b/ZywbqiMIZoqD7Yw+MDGi1c7ELm/SysMxfchgWmMu3GahcYVmeWTqcyDYXwcOmDmx2Lm+4R9qvJQt77mb40eNcIJvUL4uTO9t9f6o8idIRnsB6bBDfEmNe1M5dFf5a+/L0YQnX+vzgozqm3Dv/2gOVTOHfHwapwwYW3U2WUfwFaCvokhfPkCryVxJHmW2Jtq103QB3wkpWway/hfS+Gt1+93gqK/qL5GHYDrHvillyq4bKCcnuf3QVxPTB1f2kCMpkdNSC/UMnNQCSxLNzsOux1wW6jo4UKmJkkFOP5j7ANR24FAb8QVbcz7A9eAADdbciCV15LHGjGdqd8NCSUqFynMPCy22uleYHbnHctb9CzMVfmt4qZGiwXg0lmRnKn+VyQlT82XSsgD//Qk7e4muJLz597OiFMzEMGoqU28uX20FlzVYeSf6sZv3lxr6OpewkYgUHGmiBJ9Y6CO+znPm6ZODt+r1hnVnqFchqh+EnP4tLmXrrwiv3swDYkTB8qqIefrhhk/ZdlDlU4e2c2zIiqiUqxtA/4qs15HMMOX1hmbDuubC66vIdsx0k/kwDZWhyYmeSCUCAcfcYKJNXc+v7dmzmr9i6qUMkAVHScUsx4MJbVSLvTBfQIZmvyJlg4/T2wxQLg8EBazJF0+BsV+m3Xy3QlKIo9NYB9n5h1vWfH0JKqY5Zc0DuTXmNm60lDgZkKG/wKEiT+zyb/AstM3QT9vMsTM/GTVm28v79apxOJSZT1vgHIcjhUb37o5+VLdRxv4mYSK0QuLmArwOr3pAWeP+0WQdyqTgFU/DRg62xmMCMLNwt6isC6p5aZN3oM4axU1yWLvM1Zc8skAZTUNfHhxDuALqoThCYK9Q+rIM/Y1zjox9pAM6uKVjEr2KW6CnOI22hXEEr2DLQbXnhlYb3P/p4xlp/Vitgy2/vXKAlwSjLoiSHYMB0HZrgoGLtX5Y/arljw4XkWx2yX/V7CBZN6qjCZBJ0kGtzx3O9Pb6LWBOrBd7m6nxTp0eLzgUx1aSXfTIz73pe64z+IHL1H9sIxt3tVGk1Jt+2qX9mjTrBmfHeAfv4Tpa1kT7Mqz8Cv69oD37cAkPs1aWC62TY7AsLK5ELSfY4n+MYUMozIXSgvF6c9AAQLq2BrQx7u+QnfrK6cK22hLGu6rR3QfMorIAjWGS8+aj638qZ8K2kh3fLksd/rxm5J7gzyvhYcET1libwAVTk96wQZk3ruEFVkrT1ICl0hJ8yDg/8T2qqrCejK1d/OmSe6t+c5082Xwu9FsNJIFAFSATp173EIL+sTZu0PpzcznajSQm++GehpsD6mvNtToA+IgIB3d0Q8/qm2vWWG6zz5OJwFh7VMjYxUzm9HXYAT1vN1roV1TrNJi7DXYPCZBho7TBG3eD4jPML6OJTu2MtQVyX82ymxKOhh2BpucRH+LebAozOUBVwY/x40y6d7PzoGYaueaZJhj6MKk0n0wmoLAdasdMH4yS+nwYkL+mAoydhoXGrcK7KcQWQDb7GtLQe2wVbFI1tEdZ90eIckWhwErA7OPZgmtLW30K/Yc2i7MpysDc/NZWa6nwbPJ8yG7YEtI9WkEkQApDzeGAO19yZu++AGoTeRMBvJEMCdNQfcvFif1yXT8saLV3oqxLj8yB3ZUJSid/IS4FrarAL900Oq32B1NM83U3fRjaNg76UD2FDDXsMdW7mQvMjLNjDIUgtlm3LBt+ZxijqFarlNE9dXZP88yRU+Df0lFQVjggIrPtK4sH7HA8vdzulseRcG+gVDCm/LPBdAqPhnLDB1kblEues4ptmTL4pAzYCDkOIW3gRxjdp07ZCOzBZMd7P7mWbqSmcDOEUd2+AL4QEe5kp+vJXiwK6RlFiqqEuJ5bEXk0GvW6C+4wgE67ZShJa6H6FaxaV5EHkelyD6Ooib2iZiqI/I+SxO4nMoolE3A2Nr4BSU3eAy1lotZyTiJYExSQyOev7cR8ZZI8+pb3nlkrDsWcgiFiACjqk1GKvnDQsXS3+/SF5f64oLn6PgViWrywWQZ6Sgra0mWZMXrupVLm5K16g6R3wNVIIEY1cW16gm3XiczyfR66SSz9F3+xznSgAZ6231Z2Jt64VyD9iMiN2sBFJFAmwYRGQAZylxR6T/QGMYvfXvcIO//p1f316Li2JSf/0Py+/wFsTgvQcjShVJ2ygiYajcomvxtCQHa3O+PU7bx+3e53ApqX7aLu5ZFZVa3hgpnlY7gZL/bHoOeB0cm5flCFwLG6N9YEKitJ+jfVWjV29BlLT2qGTuQ6I6DJcHZblioUX2/4COkn4n4/UVke3p5lAMIOFcf/gvdvry1R4/LN1gglbrQuSDWCD3mTyCOaMmONLVfL3zIQaFfQ1jTfNhUyxvGs9JIu0q8j8VNPdxvA7IxB712ilXjnpbQWv5CA430aKb/eSDb24Juy7ZOIUxRUmu5zCK59oIuClgDeCfTL1Se+qkkhlNv6OZkJU4tl28TjP+pS6eM96yxuCUldogaxFz1KZyS4mVzscvsYRv7qMXFEboc/FqJBeuigaVZ5iffXsXxzJBMkbffe0lSfdzfcccZtbQBfVHTFmMdZWyTf+84b/4boZa+oXWc1hv099TqLnGs6FGMgwqEkiHzRAezwLwKS+NSh9FPknyNFJ8NfHiQ5YkiNy8iFajnEXXLxB4YFe8lmJ0cPDyD5+kz9sIynhOY6IFRW403RxlPjwheqfYcL3XAj2UqLuNTo8tMf0wYozap3XCsV7FWE4rrIHPzkpHwKRbTn7YaBo3I4NJzgeO11a8s7OlQr90N3d89ILYqLiGB+haYnd5+mTsL+FpNSAPFQO+wyXs1335wxOYDWfuWqQJMJSVaLzRHd6edhCm16L1pTsuUQS8zo/E5oKJGRA3f5WobFrw0CM6IKKA+utfPNCTPV+Xrgxkg0KFbQZqczT71eUn8XjjvXBBzi1JXXZp0ptNe1IXezr/oulvQoFKlYj3xMiz6jaUdcYe9xanBU00Xno9up8Vpcxusnecl9TO+5u/Kg1e8VyPbwl3g3+Jph7N/K4eTTfwwdcIVZOKBhX0rciZb2HlOxafuPiDfqftXkAO0tZ0px/vo62Jl+0VVwwWF/XMewMzvmj15uRKJ1P6xQ7r+FIS+Fjz49g1+FmL5XvYVqCCpWFwVtv4igL36pdK5UHJY6+S2yaSL5DbOM2f2tFEAfEBM9rEE8NJVAs4UyJNjaatq+1ZUu0nB8w5WR2ifx9uuJorn6rG+ILb2uoZ30Q0J0N4dRWTv+QI2bg5BqhguisMEWqXy8ubR703uL8/BghNaFcFoXYKjxGuSsKoLGfJeeMc5fji/AqkSHil6dsarsPU518PcA6ld/HBKz8dc/Gf24oyNFVuXI4lXRWnuYCAPfEs1INA1FyaLijbXlU7v7NU3IOybV8bsTAlEX0+5748gWpQaaIl34LilRarDD5IBuNdOr6wCm8+afmNPO+PJeRE1ndk7xaVYrKJf/QBDOX6NbTosctyODayIa2mGT47zxC4Y8I8Ip7eOhe/OShfgvlx2P3Wkuyof3h7j+yIAfBwFd6G/vj1letleTtAJ67J6mLQ0mlVJaD7PbE+t+u3RvEsGnGI/pmNG038eCU8mlfe91qHf+Zs9yqcmsVDU8201gzPqYWc3AnISdcoG1cRiXqYgkIc2kK4aZyoxKLY6+4LYcQ0MgqAszMEG2Yz/VKkFGgepvKIYtWW1t+oCscEBDJydHT/AuTZpdP6FmhCL7+o8m4Y/qpl3I7neBwCH09ByN2gfFVcuGt6dT2boiH1YHgtK377NNavrp3jrLuVwWJ78mlABrGSWrVxgps8l/0HNWDMXn5yCJiVpOdwjLD3HSE1NzkwaAei+RIB+p1w4CL8+yqRsE192XiH3OXmFDczKK8hfss6OJDi0PVpBiFPpdxjgqITjvkljaQmpYVjzxGrPy4hz8wssytsKDpQFpoF2Jwqnvvh618jNd0dwpHRnukbO8UP1jqwb03Umh5z5gWqRo2m+6GZ+NKetmLu9mZMX+F37ntNhjAVN4BMe3X6hP014grIhuwtmS65VJqvUSRhh4VtHRXes4eQm3HKccYjYuhakke/PPBvqMssGtM1bSgPLZjMsjstnVWmoc+kjN3ZEWs83ThyO6SkRK6Usj7jE+13eBXILeNyzV5Hh/BKz4hkQQfDwFjcJC1/b6G8L5Y4aK7lQJJaUD9ZyY1tfOX3c9sNPrkdY6YCNhCwoPWn0Drk0QNl5EvsM1smqh8AFrO3g/5tdTbnQaV7sRdQudGum2Z6bGX/UXFWwhvZr4i12UEToCY6ZplCMCzRASiDVZW7ZJ6viEW1rmwtBpvt47eQaKjYwMhFh54OYy953Ir0ceC9sYmteulyaqd5GKXyIess+t/Yo+MRJMstWlSwcs2oiYhEFs4ihlLgVyHQMv67bm5i8a3OcF650Ykq2d/qJ5VzANdVe09g8NsnRUooIW8hLvtQJCDVSN1i0wmItuuEmqw1YEeWLulsWbBWSeah0N2V2l2WGpYQ8woAUyouIJXQasohmf4E/nnunsqizgf7JwN9pbFnjd8h7CPg/NWyyG9Tq9m+alaOO9ZuN9pxbzVA5rEBe9hFqdvwNNg35QY2qVdmjUxoor2KzEoLe4mOqKMYEKiwzxRaIcyW41zf3Me6WRVXyfYzXk3e8Ax6JGfciaCfMHf1ysaccXx4ys1wjcrnZj5L6xN6YzxNtLcgv3xnU2uVXqvC/8R8z7vCiSuzaHyv+5SJT4rEcoV2ZIVZpHiWiiOKowgidXFhWLpam5C8OMxmp4DPPAlxhfTXGwZsNk+M5JMT5rOE28FV6IhwtjOWYtxLLjpUF/a7K/cysJ5R4mqV+vZHdAdrONHNLTV07u/WyHk8IoMy85bFamcjHdlQ3yD6SARWBRzwAIW4rWeM6WySdBHU81sepwe1DrJseavZ0iMzCsFq7balEsf10DupNnaziuNy+sauuXEAI1baFiH+N7LpcKJg91D+NIlgo/o9vm72flbrVJHRVuX6s++BwKmUWMU6k+4iqdFHIbzJ/+WoT4cXEik9BBBkDlRgm6UH466BjSbeXNMX43OMirljNgZe+ny9ZakdmdXtJXCVsNzWV3Hpkq8Bq2mJAYF2T0kQBTUANsLhLn3NpjO53xo1+ZggqmYQc8ePlgxDDRpP/OUg9KelxBTjmWhXzfdkSg3Mxb50CJe7sPw1xuiX3FXCmYAMd681PgrulDYbgrpLrXT08wnKEbYeRiBvGq4iBZXsB1EV33RTeytZLeJlPx7IDoOd0gAWuDmCPEiZwA4oOIuZhCtW2U9H9/OG4ySlam9Rtat3D5A+qqguAEOlm4AsngJ3wEMuMah36MIr1mvUS51SkTUToNDxR5wYV9zCNEIWcJodIP9vwnhbtptu+SwTlA+0dCUM6KkrF/nSpI1ddVkK9o/FRTg7kyKGmzi2ZDzUNpzfuulppwGlRuuPT7EifI3LdVXx8ef/x7lXMQOuZ4wQQnloiWMmMHqh6PzgNi/lckcsbum0qBU0tyj7M2PeCJm+j8ID0uC/Vl4xA3u2l7Tch504nrezwFJvWyF0xTWRMMm3lkcDIEpz2sLgRUTb/aWGd6wIMy218cd2zfsmI+9lwBhtnwiDPMaAicA2jFdT/U3IWZ4FZfXEhdSVB7tkrRPpWSrTZAgANMzPwNzE8zkSsrw2Z9DQv2sZE1PdI85MPEe0hw4eBIkVX8UKjSV62WF/afCVsRJtvFiuqkunl8UpHZVCU8efS8M6AYdW1HTDWLLv+33+cl7yoq5VHRHrKrGHUcHszty2vkOGef/Un3Eaf61Vqlmp5vfl9+2kFNOu31jhV83x7v4KrYZHLIw1w1G0XSSjI+GVncXQEyWzw9BgYkoA+YJMHeTOeaBxmoZ58vEBiDM5fBwr///fpIKynWoL22BKxIs+Z3FJV29so13xUw2tKtVRmb8wGJ896lOyQHGcFUk9s4HhDmLOJhssFE1BfPqJvwUqk4ZTTK0VnkQbGXUXvUTqE45RIV+ewwTRMuotwLBQJ9qJ6V8WYOPMJ4SFveu1eJ5LpFxuC+iR1kUtTq+frYtXnF2uSYvuxukAV/bpZ2LLwYoEKokgGo66xO09yf/OK7yt3lRN+bM29GTlQ81KgRc3vRTUfHc9IS0c6akxdCJdGuWjGWwCsmLft4H4MViAfbxBMT0qPse1aF/5uYuX3Eg7XcSJSRkdyvCVTC13KQh/gdwHoedQQaMPeXmC1YhoCagOFjf5gh1EAYT6mxgwemFc/u+gTTdKS1VP45cJuHiRkDnCua1zIin5MZfnFaMpBxL7/B+UBH5U92/leDzaXCqMZYEY+RwJXyl9+unrHnxOSPQTV4XDXtly1JeWjAm67b4O+E+iAco/iFJyysMAg6wCg182hYgicVjKCeTQdrAHib1Hn1BKlDphZF81+iw59Cjsq/JV80lsGWyOXYxupjlyMIvk+IbIBAUTuFLTcofjcPulliKAu/u2DzM0EPvNEGtmaJM2nPq9QI+42mUHg9Q5MZLqw6pQlNYEkkdbITSe7S8W8nuE5FRH5OuwuTAQkbR+W1R/aV6bGGQ4y1ql8FowEDuwthtMOfmU2grxJx+MO7g2sqjVsrZVbN6nC2tel233bJn4Br4gRT5+efCkzgxx+9FU0DF7df/1yJNZB+WJMqR1jJqrU1nehcUNRxmb+BU1O+WkVG4aE5JwL4pSNDdPg87P8ulZhaIczAuRKzFx2TqEfuD1RvwMaP8zZGx+nOb2F37F+KxMASvja2+5AaGUrPuoSx4NKy7kFkr0eSGrxMxh35XhPLGbU6XHVtPt7UIzpJAjYCOs0xrujeTgP1D2wBIXZpP8/4K+BgCM5eoWfNJcqJBGk53XHAypsIPnRvSumWP7HFN9wARMU3Cj5yFe6Id3c/xW4UPX6WX32dr8E+yq8YXjCMWphea7KZFgzP9bhApXJHB6RFnDZGrANRqBwMjtKkqvrTXS5P00AJGukfTC5eTihQo8zu0blD2g/2NwDAdsiQMWPsR6JZTumClxhGeeXZO8813ANBfSmaETBIiMn9rpMnShA05Lfo4QUw4aRG4V95eduYogMtWH+JQqAdRZIM9AQikGJThsiyLg/7173FRuk9TKzpe6h/C+UN35S+hrAbghjy3zXmuinRp3abGKnxBDSH1d3ogiMN8s8qw3/vGyemPdqBBj6e6s06PhpfCzVz0adt9xO7ajk9njJDtCiWZArmLFXHauo7vBDJnFDLk4hmBSfO5lPJvoDQwLDdZRLVc/t6tovud7wtb8/3mxq+KkViE9De5dbATkeZVt4E2gOPdPH/M2NhkxKLBODICLwcE8Ivm5VrpFsUXqy5cK8Eb9FyvJaTRWUKAvle+8uMZhfMg1gdfByPU3BUbX0xQH4Jgp55Lk+Qwe0Yw2W4Aqg8iYDfYopMKz7WE79WERkwKx9kFHEG/9zeA8vH0fQ9LLp6NZcAnx1KBI8+MjcMWpGnv8ueWthSbc5ccvMh3JV56x91xyUR7RcvypydmoADbzcXPXq53uDs++oqk8pzk80opnHSr1ArltkR9yjAnPZnKRlFk+uiJk9cl15znos+oG/PMhrhOobOXeB91Cd0tIF6/u+apCEqIJ7E/WTXb+/53aH4NB1ZoL3KQh/6EcbEngCoiN+WHubQnLlHH8raD4DjGxvG4mRGqNsV910MoUlAO5Ws4PFzQb3MTd8e8lV30zO0yxBzAzqAQwH7gnff2xe5b5Z8jCncz+T0LIEtzJ4O5VQzj0/wUWGPI/cmXihnOGpc+iPjiEI4HfaLe2tECdoQ6y1eoxnyc/x/IQF0CAwBEigZK0n1gyP42lzythO3fLWEdAANNN/ckiZfRNdbiA9Ix0/zUwNP24lx55/ohElWpeiVmCuGyIaZZaUWzQ8nVZJblHinBm5Clb5XBX3V8yP9dZpWVA0h1qgrOD99ZaqSDulAeuTs2eycwE+5ehkxgF8UDtY4pLiwfAYogvgUPOzmLrGDcqqUEDeO6ULsa+MsRedycT/j0GSwf4Z2Ptn3/VY/NpMqFR4iTbKxOuZfM5dFjLwR8PDliiN97ATosYQoRMpVG2ZM3bCbPNLk8BN2v6FaMwYgFjUTRF1Zhz5Rao8sLmJbAsYOgRfhdbLONFDUkGsC0Pwxshs0JwAln8HeiBW6rPQzLjD0UxMAZ/crJEuFY69K3KY0ds6PF5KSocBoTJzak6kn3GEjGtEuxdYXXHWFZtVDWg8nhPuWCL4Tbdi774bDfS+NJGO3Ilmv3alI+0nCS8AFIUz8BmXB9jgnBCv651WHs+jO6hlSUMkdgj/Mv17COiIHHo03nAFKl9NX2Ff4ea4vjSrr7eGC5YL055wV7T/vDyWAR1cAZJGSbtbaEmv+kAT9wtCAqFzRtICkJIz4SabF19FhQve9m/EFd7Xpgm1wf8w0lCGEfRqC22nYlVMqcWItqofJLrxqApJQCho5ZFa+VY+NiuZDQCY7EqG1Q8uySPo/fiilD04nk2an/HLFZDfT/oVphf056skWwP9biRbm4JZRHOu8EmGL471iI7pK9sedri1q/BD3N8jF/UUi9McaiFcFRhze/PxP0WDkrQ/UbZXe+RyY9z0mqDuQRkLOoBm45h95W5+Rklj7A/mkRo84/7xW9Zre9FZbD8tWg9z/ldcC3qTDzXeMc9HXLmNsdSBNcG89jE5Mb9Vw1iBM5msgsAXxbUgbMwNPgLmVDweuksoxKZKDu0ylN7YoV0F0EGlfXm+ZEDTXlCZyy3DweHqXwKdSKi+TgyFX12hM/SXmHc9FImJL0AKvwPcap6ftho5hDrlysLzek37tpwY3zoyk/35JReNk3I/46YvtrxTsSrH/9va4hoPC6lYzo1MFz88pCjVDE9w2nOrYih+GZO/Dlf+FXvUDvgWqCmfoIqnqIJhp87hG7ulMg0UbTcg/MYUbwQdE1w4QHc2zvMR8Ha5D679Zbvjs/zpWVDYgbOb3v7rgEjnRSMhhhwMGwmJJhiSiOIiaNJgdOM4aLuBMgDrFR9zDEeQ4Py2r9g8kJ2JyOgnUJuMIs5U/BI6PCWhEFSzpMfmdYgeFMJ5oAVtpKowI48z4xvaCATWLFZYa5OL5zmUaKRwUYJc5Yiv9kKZuBZbmMNpAl78bN7TiHPNdDwVsG5OGjJGmIKfh6bcZ5+MCeQEVLr1RxYDBf6Q+8WcfHANZAWDbaWrOysN+Zy7xO8AQRhfmfs1gcKEWH287vNtkutk00xgqGnegOBQnjABzs0rk6/zODspBLqpJGybPepNPm8UUq+3mC+L19sHXc6OX1diW5Ry8tW1Jd7PJaRxLxAUHd5Lhvr72qXaiHgexSB6ahwfOTvuuTis4RWN0xAgcMCt6k2x4qiLVg7vpQ1Cqti9P0+a98vpNWU/bW9HRr1qOn8Op27k6xptDSE5keu+ALzAoJh1PzKAwGZgigk41AxrTvCqVdoQkiospkT+mmfmEuLL5J5zPG55EB9lNg6Cdq6oaKrl9tB1TJjvPb5I8XTF8hptEcl+9iiTmI1qXO7XeYc38jCJjCIDbkzLVKjUYpwtJ6hBkuDyOBUabONDpz/TKDZGkm+5fSe4LhOLCNkFmYlDbqDrA7yHSLMJa6XoDxZEOnN85yFdmV/STYHmltly2yntCvbL1T3pKuOpR47Y36LWA59ZnnOIVjGHmCjQHFE0J7ODNy2CIVi0/Qjw5jr5NUMX7xzxqIrqCyZfX8GJTL/JZBHWPXsaZKhvXuLBTyUIma+LvLS5+LlaXhlcHlh2h+AfAxjUwPwpVGeIr0100sZWhaOTbHtixsOKah+vYC5wcFDWy4uiAd9pD1sq2EZk7/HscEtiivEjy7PT19xqF9du1+MoqIpFWEGlx/Gv98xSn2Y2hPfoEo4tcgbg3fQm05syrYluqhAvMU4CyuNlSoSttIvLKZ0oVWFDLKnqmOr5mOBSexfUnRRCwb8n7iAVZfYt2s2GPJw+aRnThX/kA7opAdkhp2hKjqDVOSUZthw4if5y6yDXSIqiA/Yniq00ALsPbBBKOVxaMZVKUlICp5tjvnAlRX/yxM1/ybNa+LVR0ZiSzddRslyoC6505g28QtFo+2lC+oXjELXobUaiRoYZe4UY8KLWhgsb+RJvRQWVouHnYf+pR3Zw+SgPkAQQMGi93sPQK5HbdKlyJNcVCoTuU25FXKywasvtZ3hROJhW+n6yJQSNhNoYAShs4a69FkYQgmJxYj5gUuGg/kNlmzAMI2ag4X4Ks8OUdrCxIJD1dC0VGkymCYaTriH4nwJaeaC7qMp2YTtUS3lCS6JDvSPt8eJA+SOFUiHa05dcfl5F3vZObvdFaL2pJrIe/wklzlqyKmSGpSXuQvg7ZkMnytVbUMx+CB86baIcKjFGAV+wPkXO3ZBJwroqLDNjaYzQqMrrhLMumYgfn0GOIGmFkBzA3vnVBxQrrob4xart4kQN6vqorge7IV6aIB3/B3Z2wCqqSL+IAEnrPnxLNuWvSbainygD8/mKtAWv0s6AjvT2XtPibnEzBJbMlYFEw8kkvjCoeO+5szAmb5MNB3GJCdlBKFzXCyLOe1mBg9JK75mio3TuWtAYz3tSDrudVgk+O2rqg/B5cC0yM7pH8jzHuyZVHaefad42ks/wL/AaITc7CuFTZTf2wM+ZADvmM2etXFCYaaGDAY6KEGA7I/Z+A/Be4/XQEKzZeoFSsp6q9SKaJWA78s9u+K8DhFXi50KbA/gQ8A1cT9xkeP5J8Fiv4/xbzyAF5qXcqVCuDt28woCQ0pIeFv09vXhxER8vq6iEfOzsOz5c8ohL3HebHhjinE4fash/LvjlNWmrMEgzDEqAarEX+YSCcLWH+J6j9PqdCWync4P35J/0sOEikv1XP+CQaVhmzqTgaZ6preOD17kg1bg0oFvO37778Vd7A+tRzvUsqiw2CWtsoX+DJqzhxl+ntC0G/atgJbkjaXItI6ZsbPOIcHnvY4+jTMiI7IdMwKb/x+bJM3SP89/8khE6J5WmdM9EqSbiiM7pakwFXNl63QAkg2COsKzlJzzVqJEEUayejcHa0YNmibUc9iggXEng+SxjcPoIR7cXq8KJNILsLhr0fgVp2iV/IB44QLrum16C1HcstpuNQxoAmPVFjBoivs31sdDxilzF0RvX1BUTwmpF1SouB7Iu4nd5rbjCAM42phvMIPaTczl1MKW3X9AY/wQUMFFuuBP642UZB7yvAL9jNGBoL8ByLUfnYrZsRsSJIRONUGGkICILb0NR8KmUxFex/Gxt3QCk5T3BCzgLdPvTv3IoeWzGIoqmu+dOszjdA8y5I9zWpTJ/XB+OIeZV0g1N8QywmcqrkfQ3HIq9n4KyjTHaA/I1KhGrcTRMQW1iZ9aWDYmJmyTiPIFxZutT5bFMbvrFV25Y3yTAYA2ME473DW5BJuUKwYSpineuWliCveVpKLz4braENtjjV5XMu78Nyd0a8T4a8D1yvManH5cQCq032WAW4MqfRjSRjZvnkcxeFprS3dXb8EiPEbSxJSUB4QhHS0n7LZR9DIS/16/7+z47aPryb5VmnabjD5UiVqLXq9PdmFLB+HNmSvo4UoBgb7RhYbe3BZFjjgeJK5gNI3GohIoOcp6i6Zx/OPl/MF68T9wIip2VX1QuPedV/EWu3X5HPMxNCSNm+9p+MFwzGHJfojDS7X26idMjI4NVza3LI7xarSmWpo4FKuhuL8DqQQIDzNdAitS15gi4pyE+HZ2Tup2j0sZjcO/tvs3L3nokjjDOrJQIBrdDuhlrKUZw/aYTBcnGBW8Q5+Je3lU1aJivzvjfUMvmeqncp0+tpwatdGtNhdmBrHGn7MqkM9LqHjVyvHAOuH+3wiM2XDg2M3ZKmhh+kIUjvaOTttr6QgdcYfgsA1M2OzWNnnYNw0O56iTxia+fk4TfcigrIYvfA43KlzhETh1HChxQ9nJ7MaskgvVo1SCp7G5mCOCOu0cTaMRocSsRfdqicfK4NCqo/39uL6WkFTSdkuvPHQQGLMyulH6Yw+nj0EA/KJX9q7jesWLiIKmztb8QVxQV3tVqoC4ypZs86I3Nsb7nIGWLmm8c3PiPCVlj4BMQlP5EXqKTn+/zZ76EeF0Ly4mv1eRyrTruJSNZZ65IW6U1uZOmUxu7tCX0k20OAISfqKrAvvFIEkOZgDQXS0DZClubGp+iGA3oIYeBROV50zuOyD5Yd2Im3PaCkB1CJ2GCQM4FDCQmrTKWLvwYHFfXXEzt+/rz3iVS6N1s3ZeeLYPXDojBTLoIZOu/KGUFZygcmL1l2o7wMDMY9NGpb3j8xzVERqu3+HDlN/Lh3B9PX5OIsTzcr5tmoW142HlxBmzJETx/kH3h+HOsURfucA1yhG4T7+oaGOotSgR+gA9Bzf/WIDGMtXJo0WVxnUuhVLGAaXqAt/3gvVVnRz33vZNaBBYcJ9rm+LxaU1ZI0cgh8lRImkslWhwB4eKiie6ylw+U6zgzmohgiRAGOim1/o3I4ymW4i1yfBA9V/5D+rix8eT8jXkiH2O2UjME3gz8Bs10oYDmWsihHU3gnzEJVqkBhFLzapKfVqVzAixp6xPPzkyEVqjTEvaV+ixNP67RvKKTXMCqUWcZWtj4gEOAIw0sMEr+31aEEbhto9Kc05NCwR3yZ46Zn96LzHylUWqkSn37Efoda63u35ufmAdjLLKNZ1qz8wtI63QM/iQBvS7eIwthh1mTvmlaALDZrvK0PCmprTPYtYNiC2OYqlWeLWWXk3QZulryIYrOAvKIHWY4yKIKeT83/6j28YtKG18Rhux0FOS0Q/sOgkk35zCCInhg81odP1yiZjvdGj9MnTHalX+/KqWe9OdlpIb7VmtAHLzdzzxF6CZdkQAULPZrxuDVxGg5VuUic72+U9gyDlPhm0rGctiKj5m1Qg2BULUw/q5T+xWJQGFsBvXD3BUwXdNdzTfzyK7J0GiR5EgwImxrNdI42JomSwwvQa8aGWeVsTJwbZGp+29BUUV5eZIV3VuY4/OUvp1XK3oXF2wR9Q+fjWHJ08iG6Efql773p48JLO+RY6jlIfBI2PjSbk+e3/aNknmn+1mSCsd+QHruadbUVJxgFv1S+OH3h4uzEcgv6iPLNWIPbmIBNVfUKqr2w5O82MG0rnNlW0xXChNpuy5NVwzkPzRBQLDMqFVfK545g5OPbjRahf9O//K/SLBo+yH4yJpO69encYLJW/1OwqkmC7eJW/LTzkT0Y0e0iWkydkl5xHV50dwi2uHropJBKrsu+e9fGeglqe0CjIIRYMlWOru09dBkXkfQQyyaPJ+GM2s2v88rf8NoFWSZhkPC6Mr/RRJCYbrqISe3IMZHU4RG6ov4uaFYq09l1pVKB9B6Jl6q6U/qsfRBFNF89sE6vm8JFoZ/gp+XlCyw2jY/hvImU1Ht6Mdo87jIdJIUsYazBhrwIBLB8rMY9tDd0sU6Le3myT4CLUYsAAfYs4ivvRF5xGnepJSdYB61haMa3y5NCpg2HJrbHLQ//wfTTX/W5UkQWKFFDX90Whq7KORPKfFHbhfJNyg2CJDOQWpCgHuZ4o1Bdf5WzvvVEHIDN1pt5ExdxtrgwvGeEOQOqjDMREG+lcyXHRiDsTFqkD9pPFxe6I6SzGh2Wv0m6Dp0EKZOct0qf0dTSMjmsmxa/uAo1/NFehd0GMhvx6o32Q4nToSJqZZnCnV5JReWdiR+UhoJrJ3VBLPU+Yz4jJhrZ+3qkYjmHSacOOI1ZVtUimN1UtYP6WA3liadEmC7tLn7VZgXWQrfZ1+IlC41SP/QoABlvwo5UVr7M4UWQwmWOUe0wt3X731ifODFO2ya4XwOPOOZmKcNuvEz3gULSOwZ49hD3ui4MhHdm21HBiOqUofXE6zKB+Q64QzzV3pQtZqxKGgZkWiKvgl1Yrr4UJnvIotlPvtX8ovXAc6pFmAyJzP1nqdsaOJtZqmUzM4Nv4twGPBxgcbZEDLC75giFqyIJBXY2KHC9G+kArUA8bhrKoFlNLzJu3M/jF3h03tOpFC1k4gBm0ib84kW1rbdoYV90cSjNiCJfWGXBnho+jxkXxlv9zqTZHpn4//Yf9tkFeYqezzf3Xqlgpu/jNRqfPgcq/klQ+pVUf8IZJ6HyaE1HuSS7KXlpKN5dS2Qn4Hx+mYDOxyx2knf32cjR0JAoBFK00lameGfjwVjZ3HUtSq5pfeSdXdGjCZQqDRhvaHQzOnzDs0Ph32De48dBb9y/jLPwtRB8D0mGmgd1ck0EYOZXYdA7WF98lwu0ZsRh4d+U3yBFwTfprHnNoke3u5YbzwcjtHd+JtD289jYoPaabBsmgtttayjBi3hb5gAQzRiZW//sKjmX5DIpoNzPFGmaQXohFMBgkdts3lGRCThfBuFcio9cJDE0cVZMcPEzTTJdY2z8hkkqzPm5BOE7LXHjonaVqL2/BtVcufOWud6GoxUVhBxyNHsT9iC0qD1WmI8uDVvKWMCDV23uobtkwXtc3zJ9nRJenQcEZcWjx+vR9/Cmu32Qf0otxTSSB2PFyR6kMiYACodntwt1qefWyh8Im1p9rZd/CsRQHwnsd8g/UbgTXiy/hMqMIebfZoOo/AY18YrZEInXSjBx4Dgoh2wm7O3hk87ESmfYlbs6mWyKITid5z6pZQ/tKwLxTUj7S6w6s2QHlRC/UUT3eaB7J1DpejN7zFnwMZ4CC2r0GskS3Ua5e/3h1iox5RaXzNU8O/nwWq5CHbr60idpRJSbbHSPeZMZ6zX2md46n+8YnKPieqQZbl9cSGr9yUY2Sf/O1uRc4prIwFJ1NcXBlIhcvb1iW9/jNqk2raQpWLsuZeaE3WfOvNn4XyVSsLukxruTsWu8qs0SyokBanwIAjGvJs77LW/qpsGdLaV0CxMVy0tM2+g3q8aOkEg2j6Xkkvx1N/rS8muT+z0lRjrJsk57QskTy4ir/+x3Ke7o4o9FHVQ2KkrxaoiYpH7zOgHAgIqOJNFP+GC0Tif9HJOg1LMD2WqwOSa4mRWIGspGQfrNktQ9yxCWV+vD5qBajg6r4dbz/VSzdjM4GLZa6sDSIzPomMDCMSqJJRtUcOsf8b/bKOKxjZK2z9L7nWWFzYV3vGuE2LaxwwKT3PCWOSlznrQXzhqZaiurQtMPqQij+XJkwFUgpu048cJZZZvPtmRDjMHH+nlP7rOxACLEI0yt0Frtb7R+HiY/gteY9EmvwrDkEdIQkuljNC78MgeDOA7tdRh9cp7a9TT6pMp6iLtlQ2uyrsKBqTYctHuCBNZiP+FQlDBhMJW9m6PEyivcB89xv9KtUpn2S8XONcOoxXUpEXrP/h+U18ySDhNhmz08Om4pnSn1qHuIh6ereByyVIyWVnZH3RzAAt845LXeEC9bUVlzxt3+Al0vkL1/erDrRifYnOCpqwltfp2fGTDhR1+wwxLl94NW8K4OC7o78EORM+9O7dzu7lWtWLN5xeTIaD8Nt+gHGUZt/LB/fY2y7H6ra+SHrRUQjufVhm8rL1SpA9Lfck7PmiXFtvb/FNmTlbwSL3bqc+S/NE4OsFuE0UA+yWo4/fAaabaQPkW4tXraZfjuwZUk2MJRafULdxo4pP/5vMXwDSSSk25w0/6sxHWqOt8yDrFnhC4Y2WSMFG3gQhzKQeD6L94jVPh911vxNWtUzcZ6blRZcObkHFoBXzhYdzpwO7N3fucfjm8Wr6oOS4ySzIg8CxLndVtKb3M2DsndAuz/SsLEtPnLYxuOmm8MXazCXEat2xZrsdf8f0UNZJIR35EV0C7n80uNGOJ2pNqpPzD6hxFz4PAnfASDeyD+M5ABM8kU5ngNEYEED1x5mksRNIa5ju1Sh3IlBcENOL+267tovmg9cAUZmh+emTPsJ2hdW7XMLkCYc5YPFROi3xf8eIQhBrtvQdjL3/5ShOb2XxQ+yCK7bsC5AjyWkfNUsoKo8brzg3nl8iO3W1mZ5/SDGOVXmboUNN0KkgdjDLY7FNHcLUJAHGdpPBZXmFeiMmd2jtrpznWu63H807cK92QXXlsblE2yeOEHmQgGVw5QVCvLHaDnPeZWWuQ4LIcNw1VM5xtx1lHr42KENyWkEN4ARXbVm3LWrKWWU4UqelzWfkFQUtNPtCbH3xHQhdEcN21Sx9Xm7+/DJ2r1BZP4i14MkoQ5orFHWsB1AfAlTfcE6NlAkuFjk9mNolwU/Es8GdM7WZq8C34LPR7ncnQ5XDz4+tOAKQ+VZsU6T41KLXQrQcuHt0Q7euV7A4MJOpUOntGU++gsb7zDIIFBJQ1rRUBt7YJgEP/xtIGDO1ZAO2X/CZ0VtisvcvaPPlz2imln3NpGSRw6vV39jUD1nScNjdG3qbOYsCv0fRFPqI/3I8TLe5uMfo3zau7U9oHg3lb6/kYuJLz+jCrERSW0DI9ROdnBnyoGaKD920JAOF9s5rDB7uqxukuwaFF9sRdw5LDdAXV7n+xPO1EFMUsRArikMur78jiLFLX4wo1fa3qRiRC34PTBFB9WiY3lYZhBCWkJYFBNYZdYRzsBQXDNzmwG0V8xLk0z248s3dBEx5Wp8HgBXdWa5QwrBKqVz8jNz0g1pC161VI+CeCY+8KrkVnnBxnT4mbY7+jBwKoYzLcKoBmt2qKA0fT4Bq5Z8X1WdLOkj9VRe7hU7ntJ0ay6sGARB4P9JN9sbDtHos5I+5tTyQhcoDDs16x8kmnTL+5RsDch5OtfluE/b7r8P045YRvlEgie2rQvd4/PWrdWIIpVSJfwa2drPDS3v1ijYUj06ZGEJo3z67NhpCJQHphWgHExr+7KVDQEfhWdq5JyZmzdFghs0lNxbC0RqDhYenaoYyiwFqid+Yq2tIya85D17PQCWgkX7fozrGuWi9OXAFthic4t/QPtXrlbuLo7vVf54TKYtBKQmAtu/k7zgIZO2eNlhvoSaKsiHYAUa8J2/0AvmhR940lN8frZwtdkFgVMC/gZABHqS7GH5wg5beBktX+p9Xw5NGm06NX8jq8OlUqU46NGbkq0Y2Bxf7DCbBOe5JsgRClw1ijZupXXvO3C9fNUAbovN6WFtpZSBz2WRCIH6dJu72zGoCDMr17GHJjWBuYtyonVswtrcSAx8jlE6d8tLf8wP1khmiOpQ3xyDBCbbrJ78JSxy5i+aZz1KCKi/EmQnHnftmlhbOU5sgptH5ARvn4AkPsRi3wQqowmRYJQzIXKRK3fjv+R6hydEFUmY59FwUTe0q1fNXc8tCWYhmARqM/zBLNMupgYVEnzEEJ3wBpcA32dTNH1Cm2pd+xJ63w1X/Fc7jFbSjZ8q1ahNnfPjr1aJkR5J5dcAIszXSPvi9GiRhodqOKY201LMT80FRgDUsQUaeoBZryPkx+S4WNzanjcLD4FXaYFhYosOgP9UdHZCTt829aK3s7oR0uVrxAhkx4fg8ZQEilF90Jr71khwjyl5qf4jIgWIHIbse9xa7R1OZdzTDtiZ0vbJqq2Gf+ZLNZJX+u4znB7QIywdEOCJmgACg1F6VKbPrD0s7WGInVBbtd4IQ5+eXLUz3eiEKMekh/IO4k6G81NRkUf/cJM9r+qX0jJYV7GvSAQwZ1X/pRulP80dSuzwUQfuWeulIdlXmFEfsCzfDp0wHKTljPVR+mmKDbRsHTF5BUqyKg+0PVuXqkvEL5LqHVHYPtANcPAYGnXMIIbAsRgp6mvtwDLb28jw3yyPqXYrEbPMKyIbeDsU1MDxU9dzQ4J/Qey0LE2RKGZmVQ2IQ2rGO+socxub+zvRtUHBCZexfzQmINrbmctqf+ZZpz9rqDcxKOubngYMVZEG/p7Gv/VOjI/Vn4QzpknOHJnnzNlioTtL1Qqr77v/P7ZSFlUI7DYijrLhiwnMIp5R9WRoh83fomN70YD7H5mfTok+E6gKdtivrWxPfnngQzFUYI58zBdSI4MazXFpOezqPW6tPyuTExWofj8dxhWP/AZwJbQ9JPgb9DJQvza9GJw58Cmnmd3yxeOiBPHpoWARF5AoahQPiZOazQHDozLZlXWZDhF7KMNX6ETGpYlTG6g6REcel1MCri9RX3Az9So7v3FG62XE9Em6ShnRLEmox6Uia3anjfWzDJfqlCohLsogdaJlUlHfwm5Uwy2M38f3XbcK/TNu/b+AlctJOQ3UyEYw/iuNrrfjxl5AZoWfrmM/Fl3+4I0B9x/qUoBaJZxkHIe3mlCYXrN6srdSskVE8vdh/BagQVq3joL7D6GTnYmyQEKcgFJ3dXjR9a12fwWsI3HXTP+CU1/JfSH1cBrFBCAcjHIUePmhzuiOmR4VeOJ1PgYBJi7p4wQqTVeZgB6IXFYSc3bx5el7I3XXf4W7hS0IJFWooO7G1IrvhaN4fop3kHituiigoXN0NiK2Xlbut8Xk9h9lcwBpEiPXhLyWjMhI6asjCCsrW2A8ewkgdu76b07cafaFGDuIlSE/t6yEmQ8qqbVWS1MzKZRWJbdrUYVZqZJnn2n5YcVam7h89tewRuYSTsIpIATupiGWQBqZWA68Ba6221GIggLSHi6Nim5zdUT4CdKHtjYfbn4/sjM9tEZrzwcNRghXPGTFWP74cMBEeBl1iENT3kS1W/fdQb2NIJwUWGppu3TA5vD4m1gGnrlJiFGjWmWhdy3ELynigr9QxZbi7gRieVjlUuzIk7F7dRx8mXOE2oZcf5FWCAswfgmeDgY191gHEzt/hkefLNbPLnRU58OkfMKg0VlfOIafAbfelywxkCaIRtFX+B1DDrqAyDw+SQDX4CdBp43CcUimyYsFR1oYTWbhkjXjfB2kBvFEjAN5TVFybPU03+sfB1LOdJMrW7Ksit5uzwlL930Toeo1HmM3xBnZZmA5owM3uTcDyiRml+7cNBvUqNXx+ueXujJNGm1uHow/n1VKHyU6Lo8P/IZ6juNc7a88DFJtzvQBb8bKPFTjap7Cehei7lTnp+5tMQ4Y7t55QYnuj7GtcHr6xHkAHFYDbKDxG8nonO+pMg/LuQvmezc5Trh6UYi4sVhrjKSD7ptJEjoUC66kWU28NgFNHqITVqCRu6//rPCQmgGgqGYz2hP1h6AXkoXDRPw3WNnwFZ1kAWiOW5q+KQpBctiXrQ/VvIy6KkGt6uB0xY+DDWHFZBk1V40CFeqU/CGVRMlX/Hw31z5EVBd48OIoiTuHGtWK8Us6szkqiB3HFLy9SbJinN2tE+p+I9Wx5JuI+jupI/yDbPUV4Oc25Nld6Z5KT6+KPFViYwyB+tn9gbT/BLUVCEgsg6Zd5w8ryoTN0nYdWvPUKE1XzFPLAqUFJTR5y9fYbi81KM8CFMYbjW07CCnf0EbzUcGE9QrAnFi7HFSUOXc2BWdwhnEvf8Dl3eY6mjMT4I7zzDd+3lthdNOwOOACqqzUUQAgzvprDfwDqflQDEjWAhw6YMldyqIsIfTbdW8ad6/BNSMvW1+QyN2PTWQ8C8RIvaHIwciLZXeSjkBY/X7FJl6U/wBh7RrbTDTqDp24ftJjGwMTuN0x5QJb6gZBw4WnZM+gkvxyYIE+mAYrf+MAw3T+B9pla6BEOHlZkb1ephtsMm20agI6lCA6g5QVc2xC8yPVq1ZOHrEGpvp+mwTAstPGm11RwXVsKxFf+W7pKv2EKQY7KXBgNiSVkmhHCyhi+F3I9s51qyJ65roz1yqU00n5Z6aZZuE7fcyty/BWN6UM7cWzm5mUqtJGdNjEu5+N/ODk/oogWQvVjgdWdsbyAmF4NB+p1/e4atYr35Utl+4UWjOU6CfJ2URRdbRIn84y+PHGp3IQubSebBjSNUrWXN0HJ5UHQqsuj3nt2j/lTT7UXd9U5qoHvl2elWpkxl6y3h5TUkcDrV6z86eIBdRFMkuJuLrv0yK49h+mj/7aQmJz/hwWHsZbKTQJ0r8US0jrmYFuV2Ns1vPIBjrlhgOZosh+asaKfSajiqu0PXp1IQRQEvET8+4o4KPegGkCbc1yEEm0u72nYOVPSiVW3Z7fUHtarfjLyIIrcDKqomOcFusCoN+R5NFZr1JqYUFmzS4493NMo9Qu9l8HjqQsRtmxPRxyXuKNCVc/VWnexoydgUXH/YkK1IImyqcrxaCsW5D4+6w4Ll+KzdQ0eMc1TvVAezxeQwlARvxHySLDahDC1sSGUCnsSO7jb5nnJBegUYZLuLjUeE9sCoscoyP1wpOxP2X/TMZ4hkx5N9SgohCQES5Blzyp4rK5+Qh6UXWK5gOMQh5oBlYWZNzebC+95oFAbA04X6qyy9Fv+8GAAQv7ZtpG+teRlPb2NJ41tT/vClMh29Wf5+ZMKfRsaGLMFEF3mDDKTjHshsSsKWybZPegkdIG65XUrPGAjhSSeQvWOqOREVqbO90cX4p7z+sX10wfyCrK1NDjq7l0ZxP1MpTwGxQtIyVaH9LGPb4ACPktN+FA4fTdr7UiW8GA5oFd6Q9/Mkerxc4tNJqSlz5NJOJmUbyFvmjvri1EuEcmtfE6geL6XBxB2bUiJHsXj5YQYdirRFkWMi5QxRC+GHvzBhRHGPxjDaUU3irjccrRNM8Anq5Xmlh9C2zr4T6jiEJ/xVG7SEflbGAHsFiRZ2ntLg+pEEno7jdAG2MrtFxZzy9BTZIqGvBuxU0LpOjDor6D8HaDvK2zl+3li0n3JHM02NanzUh2EZZcAJ2afojnYcVJsyR9nFqLFxsGhC1SISoiB6Y+aWPhH2tjhGLN03XnIjYM8IN7m+icm7gWp3WlVIBR+qRpYsFwXXOhmnFgcxbBXZrfISQMS4HdXwqSAnI47saZKauuc+DqqpqokiI1QTiy5FICHhXn3vnAJ6BMJZZfLTciojX3EtIj6yvpilJIV0JbfgZWBMXGevK1j27UDx7FFN5cnwhqs+Gk8VIljtxGYOgz/P3qVbV7+krrpmgWWWdfoAVBNYNQazWsLPSEsJYboAvoBmIZJcNxORfrJswb9TmYk+mW9Icnm6LB29GwsdfWVXyfiu5ocwFyAMw24+Nf4m3akpb7rADyNTDwU1RA2m9Ub9hN+lQyQJroMEihy8V5ybHotkSjZlYsznBq1eSDpk36gmwnWpT/sD9x1CXfYJEGHVafHZXT4HKsbQ3nHbpMAq+sNwnDxTa9V05spj8LaUtS8u2INMnkZihrRprlRcVY6PHfj+nld92KN0ueP46sJK0KwiJkEFbmeCsH6KEFlYC0s9lSeT6mXk/AmhrWC6HZ42Kg6MB4G9a/4CxqZrHKNNyeh5rqK4ct9LVr682TzjywYJ4Rb4wEfQ3goiBT/fMbs2oTdfgS8dWsLqE7f8WMa8dGamilt5uGE1Jbt8XnhC4sdqnukMJ4uHPWIveLQNi4wuIsLtsOWW24HwAl3kbunIqzAnF8C4ZfQlWOOeQE74AMIiMbk/7o6hginWEYBHyuz8h4e2HtFJkWSE7ZcBvW7np4KUEtSfWsPTk+7pvtZKDNRM51S3R7TuSotAF9hvhBe/J9omqoqeV42yJF8HqnBxDOiE1fRGyk9lJs6kUPy12ZHfIjP3eLTgrtnOx2qBG9Y6sEP3xruZUkNJudEcfTY819Etl04k3OdacLz+n51F9ONm8euBUtdq0FWLMGhiLoAx0QK08RpkOCGsQ6EH+XKPqMVuIN409LEbTMeJB1jfQFNqt5dpabaUy4fkaoM3Julpy+RcgkqGzPGYQl72WFwnfVcRequOH5h+bKVZVpLDJjIfvu43J9hlXGaW2DJ8V9D+LwS+zrKwfniAAhXF25J9mpPEF7ndziuxnzSjsE51Tc2UEqBrYx4IhAyEmM9SEqZ/OfBSbM8+Mi5OKTvXUZpzKMpk6kawun25Uc5ye/PK+avMfgaUY26qIt+6D49gP/gdVGyFjn7qPXmB4WLNoEV6DrH7ZxGZCTY88A9ZLFEw+eiHJl9spsxAuO1NIfL5Sl/KJcN1kCESGUINFchoVMpVr5MUXvvj1p1/r2f08cze3+eI6GLYNFCIZnquOFZ08k4zz2fTCsqugv8QL9Kn6b9QWHFXRCaFMVkRgStoFhFV+KpwwyMYwGRYiDVbK+hskRv4gBp7bLNCBgnL+GZJESGLbAQFTeA751/xlmK2t9TGeY6sed3qOdr+u3g685DbYpnHN7grPpwUuWkux7vbAUFfeyUvcj4bZAuLJflCG6nmmitF1nYtKil17x2JPwzjY8FHxPiRNX5vhB6XJVhCc93zNtfyi8TuQJ9soCDqibe0FSVx204jQc+rdyzpVDgRE6utsO9wKwvou52PFyAWblknlqekqR/k1skjeZPaZUGOQ/tivjBc9WnrC7vknVpPtRklsc50PeVXyjAX5c0i1k/Ey4uYd9zzBosA/VrF05TDk+g35Pzjbb0prX7Xj6T0gT5kpQa4JZFlsreJ94sAICswdGcodWOqwwW/wzIUsXLG8veBIWaSIQ1iaWk1pwMtxOWULUCso7F8qMhUOU+oo9XtwNXRZTW+jt1P0FGa7o31dKghuRSV9DnCZ862PlEzAVQ3bQBrzhG0yAJ6nADrWR9Cead15vrfcS4YAdmsfcwQKvSFJtWfvTAeJePaRwLL6/+WujpuO+88FoY5+Q4bms5OI554LP95Z2JdUpWGSj0JB0vhxGsTOXZIv3yHzO+ciMl/wKIsh7lkkBGxpTlFibfFlSY5F/ibNGviakhQDUUnRPshrCxs0Hl4P2kuCKCIdiHxtHLiyrlx+uSKJizQkcFYPoiTEQj+1df4lXbxNILZ3b0gJ/I+Q6SlSFjR89gnM5DQpOcHVfgSSzhQx8FsZxWpP+BKBXnKeTayo629Rzt+UCwh7CZ7sUCyj94NuU8DcKPneGKoF9989Lc8utbY1xrxJb/uDI3IH1CrhoYnbqV89cAFrjv0FYIQiZl7sBY6/IBSGT1m5FgJ68EZ4QEeDLIu67Hv99DI7xV6rVu640RKYo1xCZjbH7TiY7UwB961rsjMtP4WdbzZkDBlTO96d1MKynQ6KQOwdLCX4YBbiddibISHsH3foxhL7U9skTZj7gDnt4TOr92YDFGZHytXBpavbNXkrlnPwe8Pk611erSCi8D/DUHaCZr7LCzeveGa1uQ9cEB6N0vrKfDIovn471zKsVgBaZZ/PNF7Q9EEjbFff6k8IZoDE1gJLZ6rGGdqoerfhkesrHskxZ/4yY74iL8OxFPDq0fF9kKuHXXfO2ka6GmdSFw1NMKatiGR3DHxDAT8a0JBn6KyRdtgwuJ4bZfDmFEZAXnbrBT8uKpVbYHLwH88eVMetpb6WBtiRb1grz64n9Qb0G41W4vG1IGJ5fqqefDasCch+F6zJsTJ/LnCw8ktjbRKTW0shojsKveh5YpxrblMW3gG7UeRuncr+RuVpC57RBoF0g9pCD45dA+cBLwhxECmRm2vDuL5G4/NEzCp4qyX5eXj9vNaVfE9wkmB/EVGQgiMdDVm/5eeVJlkiHZsj9IrJdPEVDX5i7z/0Sx9K8kmXpifxq1ul3DI8wukGoMImLBGApGEu0EGAjCvzVo27xojWwkMW/7pMo4y8CEMTITZCuYhw0xF1UUx02eAIAXwANqA/qsCe6Ui1VVAft7SAGqjf/rzr4+xv2t4FuZ/qgStIRFIvs8NuP3/47or9kKUMaMZBbiKaxRUKI+4hFNM/PCE5uY/OBOfna/Y6JRuIDx5OIE+6BB7E7KHoOckjSXanAAekjywrvvA/wrrtLnfOmbJV6NWUa+jFXI4eEeU8XmsE+B062R9S8vzViFyeYAm0D+vpe+i2OY3FfStXL33FiBtMuUFJ2UJQr2hRQwCavpNDqDsUU283Sm/RPN0pvMREeuQI4N6X6vQed6w42W3hLNGAlwzyJ0n7LKPzA3GRHoPnf+Ajs6Ish+3h1pIJctrvRErmHh+m5I9lykPb/8z8AGoJc1yj15slsEmdMaZUuScF/16mXbSGpgvQSX42+/QKmUGWy+aBZ5G/hoyPhDa/arQRIn9KkbEQ/ujHNUrh6yUe9Dj6PahuqG9FDAr5/oI0gEwQxdPG1bMBJ6ocEBLi+KI/g2x1DV93yDFSedG+nzewpuw4TNFIDHfC4AfW6bBp6RKhgDTIpD3As9eD8EAXgZjYazjr/BTfCrpayDltlSkWkWiBbSzbjRuEGBdi5KlxFVvlrav/mx9RXfjMGLego8gq5pt+GLlmFRVDdvoiGOBx+VS/z+rk41Z/yzgiYuRuvW+vPIgwsj+RtOM3osKtTlMi0ew3dVQrnfAvVCHJGRugtWeN/MyyEmzBPGSuEr7RxD/EctIW5/PrkZ/qLkn+zhFxoOoeamyVp1aBdZtETpo6B857UaTel04/VHWyos/+JfDocIf+H12jujjycNQU+n0jGiMqnW1bL0t0Nr7hrDqcols/7o9Wn/pb8dVvXJUuQ3eYEbWA1Nzu3dvJFEupXIKmjyp71w/N/4rDbNTUl5T7cUezkOUrSaUzun3lahbKBC0gW1cKnbQ9mRItlJZXYj1/1bWkq0GJ++WU9E99OpP83NYmtRvXnZXJCY7+jIHMAJwTyVrrWouS0LB7zAD5Q7UmV5l8Y3iK+t8+mNztN4pNedEHvIy71xElRCwhEbj/SEweqCXfzQkLkj4d2dfnSJ6cI3++3EGjG1VRT6uGAZWqVT86xZMhsf1cmhI5IBr1jaThH5RMfEjS+B3bret6WbpyGV6XK8ERhf7zSSsqhNhOqd2AJLqLppczDh6NrWfvfegYMImF0+RifrnZt87UVEVVnypjyp6qF+gj1leDj9jte6ARC/SEHZKJ8NszPlCRWw4uRm94s71XVBkc5WwPjiBcwiG18T42h5wwY+2fJK5yDZhQ1kBSSVN3Dgc/oy7969ukz0HrkcVjerlJD2dnQxllR01ZkuQExYfh0tQSzflTRCiiYrHgCQU/GMD/ynm3p5QcGhlSwMU+Lnb4oHUO7Mw/qRpG7yHm7ANABEte39Z+i6qYzbDarxgKPPARbkzvtmh926p7Wvnvd6c+liITHGXAtLDDDQVrHZ6xLpDvhgJBvmaf6vABdHGau7bUXjtx6wRKyTnNFzPFmvMpT5dlcz3oBtrhIgJTVPrNPBnMr7+yKU2pfWC1ikefH/Y8VAOzDTWYGN/wmn1CPnEyFknBjN9kVhyqbpCpVenL7ch5uReBd6FOKlKOJ0qtpKT/1D4bBo9TZuC8GqqhRHc+SIWXw21TiadBce0k1Bxa2VneNy/pqX4Kz6mj6JRmHV1hgsz43VSMfnBY26U0R1AOU1cDTCEasyY+Pf9ACmR3Cz+M/26KVsgPQ7K0vZVkJCPmxHSsagirN2y2wnXKuZi9Mpbk7oamk86IpPoQAwE0qY22BsEee/8SsiE/W+CKpRTdOsePjygYYUZKYVrHuk7sIleWH24dVHp7g0BWUaXEjvy3xE5hihD+x0i9Ib3bck0glc1YZ4OMZWRbxuJwtOmodyuaKwpDjXoMmT0gvjaJumThrkUBa1fz/JQyCcHIaqno8JchaKPkA64KXzsnB+JA2CeVCMt70fshYJT8Jmlrc8U8+VmfNwjN9OCkO/Fvfo/EZJhQ9c33hmbG/Ou0HNHAi3aH1N0lBgPg+zxTcfjP9nGtogpSquokmmUAKYhUJyA2aj0pXNtNAceAvoox+38z5p9Q5iBz7uIpibAHhPasvU5q238ZygZ27dpPtBBHvpXzU9n8FFlAx35NF3u7wCpLW2MKCCQmDlSWrHmzq1ZCuTxKZdnrsa8mKD8jHUskCVwD01Uj/f1jh1URHGDsCVcEcpGjGkOZ0RRawhNNm/6hazgjZF/mvtmJBsjnBqUA6KFvCdai37Mk6W1njeIsCAYp4hOm01/4Yemr7Z3Qv1Gkz4VzAV7bCw4yajjNtbu3AWrJ0OcVgl1lcuHK3zDWS49QJEH+YGLLx9oZlyplTUu+r48xqg0T2qcfNavkZsUOJJSFJBcQqBU06wLkIstjZMidBrFaNeHoO7HdweepHJ62Wv7/hn3bISlTTVO+3GOypdqm9Cj/HjbmCrrhyRUm4mOooRgcMd3ak7ZfOJgaOtV0RKjZB32Xv1Nlcgd5LCS7D0APbudGn+nyFuG9VhhpHC3UrnXDC8XJOnLrySidLfTD8oJpsgZZSV2BnvEb1pJGpgc7XimmSG+DSmb86MrtWzgywRCxQ9bnho4dlWiZ+Z6VC+9fSuOHEj8L+S/PUijF1KjwWhuGz0KAnrmv5btO74pYxenNIcYioKw9edKS0H8KIm+tuoH7zvelyrnE6vD6DS6JLS6H+sn5a5WVUvwb/sO+mUYcly84R1Ts3B+B4TPyTQd41WmIDBoAaVA0zOUt1MCQts6yuUxHAZzpJjsuqAeEK0KUqjNDSjJ3hmz4rzDxiHg/G9knJthzpFF7hndTEECnDoNfv3LKI9b7r/0pZGNdHzgZgZKPO+vElDw/TR6DOgvXIgHGjdmQHsubcTRBU8+5YsqTAnvglscHvCiqQrR0N0woszKmgq/Qbj7R7etniwdrrWaq4g4l+Ocf8OFKd5UzypSEaujrsWVdRQAdYiXozJHi8bLJboBV+Eqz/H6ri3tfk4yWeDuC8vqrEWmkyglnKq+dWwyUvpYwiEzRh1Vq/l+7dvRfLWZOuq6ndErSaNKtjwx0emS95Khz7CG4tcH5XG+yJyXzvz85aotAa2OfmPme6+7hsRs3c4DwGun2X6nUmmuKeisrMj6XKI3ryy+L6dNtZe8nkLj5Y/KeZ0DumoGes1QSChHSPPBn4rqz5Byf8/aVUFGzFMr4sh1uRMZnIAMIRwbPQ+MgYunmlALL6VXEibZXFsvqVBRZn9/Us1lClsJJWSM8G0tFPy2S0QGgMH0cUVPaknqOIdkAvd/irPqtE5IYTcrvkBMq2yabbI1b9QhbzOrdOZeWhraf3q498xR2BRJSgCbICoH52ueK/IjIJ6qaA3d51387KPi1MCsr8DzBut6gnT2u2kTw+z12ALcUS7HYojfRCv+pDS8l2kEkwb63u/5Cxp0A4ghjwOd7Ika+MNElzLhnc7EKtANxgFOpglIDnK9dKVZlV9B9FTuK1Ab8a4KV28d6qunaFZIslDgtsUJmJYXBgJqtco83khOr4wmvdfZDd3RPGaH+nsuN2q2A6/TkBwENCBF4u7vLq90eovmW+z/JwTI/LEQd1FuUWsLAWHtm3ulw9+Nfr2ctlZsSuE8RSdq3+7ZBbVDIUUIBzy+g+RMzMUmwd3ExMTCu7Vj74EEB/Uuo8e/SitQMVL7Dnsl1HAxxPl9wklkrAFwo4Pv9+OV9Q76ij+6mMvXUZnvMGTSqBRtOSdHPDD8Pp/3xaR8ki+P1Xqf3C08fGEQtBH7Ra52usYCsCeW9b9i9Xlfbqjp7dH84wOUSaUmBll6F8bj5HWzq7BCMaNoqQymuhNYPY2LQhsUC+l3Qxow5yZEPnsGIv1Pqxu0KtsFtiAarWM1oo+WcrkcbRtsee/KBaeA7sioaa/6IlN2pQn70+cB5ZXNcvJfuYNDBHLKN8fxB/Pl+FJ009se4OcnUj706a3Ka2yEXDKMJECdywjz9HTUPGtvJpuQOY/0d6WurNusM68pD4IQoc4ncCEYVyu98ZU8r2BzsZsBxLdSw0heiBVXDd+sJcuPg3+q1YieDE0/WpoBHVCQ1U1v4hUon1lMnBXHbSdbgzIem+Km1J5PzDky0FX+YxlO6YrR6BDCoFu4O553kMXaDcb1DycW9Tid7F4Rw90UcysBQrfiH5QVWlVupl6084kvAcyAtnAztMhDpVxd0VWleNw2erz/Bm3/euub7L0epqkt9GrsmPvj4xxLhRFotN5nSPp5W8CA443qr4l+ZhSmVqupllhuojgV6cGhFlNdEAhw1Hwo9Q8B8OKOnB91+ij9ujRYg2/mtK27gL/TmdAKcNjsY9jkxO/lu0vAa/2+HuLazCVfGXhGX2TARKvRoc4cWxVpjouhCU/QvzI3aZg3su/CcxgfGeWXU5YKIsKE6jlaCZfk4voHi4sZx4UMDsMAT0kblGsszQ1D2sopgRK8Sff1oAuOXrQ33JE3zFKJoDhFVtnHmec2yUA2WLSafe4K25xyGSufkeGPbIrs26viKhz+iC9ekhqQ2amr5O7f8Vj9THQ+ndwHZx0LVBJAxvqG4wfvKbvNwNOwh+3kzmzndzZIupJjS2gkT1FSRZLpOqrc+vy/N8aUbuG18MQNLcGeTmpyDCdmziQFbWW5Mspy+pYll+9mH2SmqH63VXNZnESu1gMWxfk5vh4y56hcj15Z2fzzbB1o0MtORc6tQEdT0Jnd/I4CEygEUILv7Bqw6LY/RKjVQBReWuEY4OpKaX57Oxh0762/pPSriVPqbw76P/wdsDGCA3Wz3gfFlosv1HbaFz7EI7csQ1re/u1IpYm23rkB5r6tZhRNmPnDHJBlyfK+h1gEBa3wFEkH7piRTbyg/++Dio8WCtL2ueyjEEl9CHIegZ760lGr7uHSMdqzhorckGpGM9k0whIxZfuSNAQEIzck3aZ0XCy4hRqD/3gRIcszNlHNo8P7Xy4aSJ762oHYyiU4c/IsCvVcc4qSPCRHv/yFON2ywxvmmQH6ekO1RLBg45lilbfXr76pBHqijrXSNdKJrfCRbgSryrQeZKOmUpCa+AaKzKBwwG+CFCy1qp8Znk+Mv4T6PivYk2lRtc0PoSa+tMXKt9OFWRqUUklbHqTOrpk9xUBcrrK+B4zqjYTwgxaQ8PdprDhGDccSYMICuFX4OALyY9o0d+fWEs9ExceVXwZtAyJEqJbYhPq2Usf8m4R2jwKafewY6tnYTaGirKze1nO0jgJLtzOKyPtbJpnN+hhoQT9sI2/ha6R3nOwDyNYJtPqeRU/x62dGiIlqaeY+noXpb4D8/rlBAcYZrcByx04uO8WXxGIxwBxHeUehdYB5MpvwwfXwKbK1c2hIoerIVDpn0ySqd1ezPa7F+uapk+xFne5k03crtLqpGQxykuXIEDa6OWrMuqOY+EvocXc1dXFJOnMWg/G15dcFOj3SJUOXszYSLDty97SS7yqaNKOMnyHQDsDBhGCqQR625n0g6/X3d95B2HfvWbG5//1QDikWhoq2MVQS1h60Nw431CRXfmBEApJFGjVe5cCBye2tX9XE+BYVI28Lqf1E3nn6eQh8H666qqkTLOkwACoWkPMj2F9tiDkfMF4pe+nCkNe+pBKDOvWSnPWRndjeODfjbHqRIw8vq/wUx7Fs8fAu52C78EHOQwX4xULNk67vgnmOVbAMgm+EQFIYCbCsSD8ZM71A3GuAlRm/B7/o9vqZoFtFDusxkrSOw+G8DuJBiiECXDcjJ+3Sp26K6jz42X15WAIwAw8q50VoHb3ytD/nAZezO7SknqB5SEf5TWGsXyK/TC/TlwsnWHEjuEYvU0mwsfwUaOTodP9R1RC4q/xG7erYTT8sc3ULptOwIocnP5DYs6x/xslcIKDnUq+u4f6y+iLWeGozmFYP4CdJQ1jlROkm1IKhQKQ8ZqK5JZ7PxERkRvh88xTJzHv0ZfKQ8YTx3YBy7TTx23HlDWP3zOzvbPuOVnnul3gjS3x5R3CpvFEJ2KTz3d4Ardf6/5BGNSenWn/e0VyXMaKhLPrsEibVm0nq8FN/mded5cs115itcvPqspDeqoh4RXDMYXo9tPszmehu8CjUyoU+rix6q27ddc4hwowIkoWFkNY1xEA4ApjJqigQRMRmA05fx+MIdoygPxzJqFNdCXWkHWCqjKcdELonhpZm2e0YRRxqRDWZmh4NYWOa3L50VJ9sRp8DrV+m1VHnu4V3jtu/VerARLhlEQKF1JlR3cdv/YLrJe/9LpPKcG+ajeQ4U7Z6s/qeljoaIVL9XunGAh0bpEg4tqwohauGZONdsLqiMRxJT0fLtKzrLnkMtvdZsCaUjRF6N2SAQdqLydMxYq+t5lC7tPR5kpJCJLjCiq9PeDObMeppueovadlLgCkTWCm80ipP0Z7JOgxZkrZ3nQZ47cZOPe2YJ+nYfVxLe/PJgNotNrko7JJHB8XuoSY8O0AE688V+aWSSHwshhfkAhP1z1W7O32TUFxJ6mTQG4SwDYZOUWDrjESYyuYGaEE2tACJ5NfW2hlhH3TCCbjv7ejolEh4biQwO2pLtKQnMlENxyFc7IGRheJAOiouGPuHolqCecJYHXlsFXaZ3ZaHlb5aJR+EiEdhuPvlSlu+9u4nOFCgAWzBnFcWMCSiuC7fJyVbw/J9zrrbM8+HW51RN+H04Qaa4+2lPuLOyn2nRfR9PofT9xKh99E2sd4SjPCOv0oeRoi6fIDXj5yuIe3uAHyOTcMm5k8VmIRz9qH8tZkc4/+LMH1CriCVPUv7xW9BPaRgVnMZD70k8zOyvi5W2xWOmUZ3ZGjDPhst2MYJ6QMgo5eJowIMkPkAO1smueInnKSDNI0sKAN5E/llqf8UYzeTAbsBzqD1zgfhd7KkCFQYd792oqRNqUWHwqlraWpDe+CdLMws+ml56sUtz8F7/Ap8WuY7r/ddkLODU4VD0NkDZfGCLhleeU50wlrQ+8VJ8YQqKwLmk/ZRXVBnnDfWIWqN0XxEhjlu6/DWr2u8mOgK3CahEOqhVi76EnVE6EcMEcNJ+lWfLpsIpYV6tbUB1ZkYtCfFHwEnn9YqhJqsGcq/SUuT/PXT6PsP1t6odDnb3FH7gEztjA/dHwY53DJlLIN2+09UVavNH8h3TdqdTdHJm2olp9b0mUGf2ZvUSNbLqY5EokqjJnBuHylA7KbBVkwK84rXcDfr/OQ5zLU90ilgzazGjSwOv7k5GGJBsX9j7s4rG3DxzyVk/riwQE+Ewk/FnnsfIfv84MLeuUYGLxGxg7pQm9toHBzu9G2fAoz87SYF2qSx4/r6r67toPK4yCg3EvSn7yZxLx2DD7s4SFFIQafU4H7G8IlL0sPLxbgaDGPBk83qt1o4xTQdV0UD0tVOtLEAlWN9zLAjDK3VTuGLVUetwLegW5ihrVVbJlKUr9dcCZ8AnBpnAPk6HccgKkrjFmI+OWIaqCyTllVtwSRDVIDQEuNIcj0vCGp1Zhd4NA7RAA7kXbXTzs0KFB7UXAHXztZCzZ6MDUBqVid+fQlE/a5ODkw3sX58ZzvgcuMysYaXdwdzSuzh0AgAjWhdKl5lUiIvCJxTWRzfwmkSEkyclZL1gP+QFgup9dQQZyyD9eP0W47cpkRdPNPwochkEHhac0ni4PMAdyFjhFSaCUUhPmf8UUUWFyGgPfubIFd+7pRrtIAchOQQIC94898Jc+uBeb/bIJj3slOuGO0T8I5ckgPIOJpiva2gYFnLWiXSiwW3X+Y7SfVWZWTh/TwZbiyNJ96hDnujJIaBsgWJ4KcL7y+dKz6GkA2pKiPh1hHVcOn+m/vCMxZwkcH28bPE49r9Fu+ty4DhmXb6nubxuskCtwWIFZc8V1URWgTiX5ktJGAW5qM5HwlId0wPzDLhAqYtwOziidWjOtAxRsZxBSQJyLLBdqBC4J3Tsem0R69xqProQUWRfdFjRYpU2ak1w81+WoxigKbIBZjJLPuxGrlKEV9qzhZkVSnwJCzOdS8bby5X5hZ+L4t+3be4EmYPtbHGo4LF8eh9TqAD8Bq3MMu9PVIAJGDvxhE7/CZwRLS/QYjGmEd+sB8IJyf2sP050ei3VdDs47D06FtIu1wu7lY6DBS1vKEWjrANsmCB72SyqcoJDDLpgYIXZGvErvjZ0SQrEOirpzZV+jdF8b/wuEdEwX2oRLUnAoLQQ8XCHZPnNF8YAV3FiMKUkZ3w+kdoyDdBZQWOq6jwj+J3N/+zsLjZQIL5zK9dz0CVXzv+PWHDlbdEGI73q6Y8zp/b36VJaikd0V/zjUaYKFJVzuzx6x4xBMMsF8O/HYnmlQ8dRt2/5GuQDNpdFzB8QgNm7i5RF6D6d/CKpJiItrkBTjuHF3ftaL3GkSY5z5rM1oPNFEzYWycVmp9NKumCNR4Nn4j9pExLVPKI7m7T0OorIug2/gOGh56ZEWh7E5SE+lVn01mJXH8iCoLPYt+MNNsIk6/7I2xNeleLFDpe4G6GurGaJ/IM+LIEYEfaHl88fZlSFLaQX2pgKwannCxa82ZwRbB9sxakSVAryEzXscmTgnPbfls0S/Lhisuvry38/PZgok93KRZkWmHzTqODKL53PFW6i1Zjs1IcyRo5LLSgMhnBmF21fh9l7KIRp3fyTEw/2qPBNQbmoAvvWbYnBuhypMHlqeruJ1i8+p2LqrGLLcXOcem8wUmkaiWhmPbasPiEgYTeD0M7s7jF6G1w5bZxPfOf7WAutouDE0MI3DmbZ3x5KET6mUgtGjMXqSgeGKPJ1HgUzbzI8dvk8iZiiyZXm+p1llUfzOuyCtS91UahW1eOrtnBMuc3XMGpRN/7zsvJiqn+uE8UyJgluZNwkob/88r/Ht2aWvhq2os5p2ZGEAxuT2S5WK9tYj+wyDKnpX+8XVZVcjyD0n91qqtKl+N3yhd+Vq+qF9nT9APZ7aZlk/yffrYadcJeCtgtC0bfi3DPMfhxCrPWeACyedHrQiqcyY+hfTwlxR0mhE8RP68GK4/CRS3vqNc8YbgQFyh7pkCh32qm/VvQbDznvvnb5RJ4IK7M+6zZZrkJPTyrhF5ExjiLIzD0jWmpAk1E+28nOQ7nbyvwiOlCLqOx2gyhFgWkETkd/Tiy9cIqBNTtEo3AJ/3r3tjBt6KNXb/YuC2m5ZJASE0wMkEUA6v4zLyKnNxf98S91mdXNy/0XVWFGLg2V5nk81PVZTNJ2L4yCy0mkcFzJlZjCOuXOPsllSVdVh8KMleO2hKH4aOjL9T9hpe2nju4179PCxPYfI4e/HHNZe24NCtF+rg1Idk0zSVl776FYRB6mZ4k1PfK4JYuC1soA+2SQMWaZVZ/eiEBkvpHA3F3cxemE1juqYN6QRn4HXIQuYuWMccVU3ZduA5sCeaUKF0SWNLVV6jnJcQ2AiN0vdqur2pFLeIqnqzv9p6rWV2NXt9Ldr2r4idkRWfWVGUW/2IEElKZulGbAJf8WM4bRZx1MgYegyMlJ+zT6MQ4bYcnwPtA4/VNHEkQCZLAN3CJxvr9sj9egbY7uUjaPFhKR7rHOXzzPbJTeNDGazI6M2mSJqpHakS7F3M6ikNVSrRm9YN2sZ47XdpZ5iFTYX0iSxVbRkXtd67OWkC+Q5LNdyiDID+XRHbyn5yL+H2E7zX/KCuvJal5X/e5ypdq8deKIE6wGEM6O7R0bPf2Q89eHvJIMBjUwMTM4v0b+/Bc5uh6klUlkccD2JjYcluML2XKnKkyUerDhUIdeYKLBs9H8vER1LAWzhAwq+EIw8kuQNNrZZgRRp6BlCw1BF47VDA2UopOARToTUjjZQnBZ1U3p+7AjMao5cBxwmeb3WjJ6Tk5TwZTE++eP2dFouF7om81cFTvKzNcEHEAqT752rmqOyMIsf9IrKEU0ovzn9Vma+v+7ks7nKA9n979QP1Y+BaH+/+ZYJs47OR3SC6bo8StImPykaTzKD/Jy++kBcIfSAM9cPAzavcAFK22pprr78dW2AInRia6fP3hkocRVcFVw408cJ60FvhxgWyVozPLZIZ8lk8Wj0Md7nviNdMk7ngdpDxhTdagD63ierHzpO0O+k4r9O8WR9E22b5yIxtoTTzlU03qBeXZuLHev2M0mPAiiO0j8Q8gCCZnShWxPc9PiHEv2J7vb2r95QDeHngKki/p10WWZ4X81I/F3dTp2slDqh4Shvn7CqxPUYTAAZeG4RlAItxkzkCFuVWYkRmPd+K3HSxC4DcYn9BcKVMYYEP8PT58wpPD12LMX5nqE7kD5XoxFJuuYGk80NyY+Sj9kYJfsmL8eqiPpFTNp5Al+jcTR7z3NqQyyYpjr1GaBStgUaE3Zr8YNuCnhSytAEdWh33sTxoFGmPhQttA4BaIf3s+a+LmgtZcsQadSHqpS5o7ZSBpdjFDvNNhFSIlOao6hVAGqyCSIq4mjCPwVoq78gCgh9QSabx1I2WNfWtUsWxpcofbQd8dq/+s866FuAt2nBofRtm3Gfq22aAL1yGs3Rqs8C+U+lMutb8r2etV/cqqHjRh3ByeKHlGHC8jty9O5LJBqa23U3XmbKFB+U/eSGK86QAQu0ZXrBOVyZRmmjE8e2gFbYyr5YnDdHUWPiCZlgcrf+mgXgQbTbUwSoGVPUDbEh0ypXqvLHIxgzykSwngHxEnb4Eg/ilgKgQmAlR57g9AWMj+9Yh6eNTsd64JroR2YRJVIVtISxb4Ef5saoXjPg7iA2JXKRxroudHemZCtIFDsLgLa96Pr1l24HeHQBDKvK3fmb3jQxOacWxjTN2G6VP/ZxaL0qd83GxlfqQDFGP4I35QAmi2TKG545/Y/aaMrIE+YHdL3d33onQ5LUgKlLwOeznjIqmBIJCRTJ8ExPMDlbvgXYgPvWvApACf6t70MOIAtZhYx0iktq92ZseZAXPfMy6fvA2NRGaNMSVxJXry3dt+4hiXPcOOa2+czjsWBLHc+w/YJPG0my0aG4YlaolGrCqh2EZfWwAFyvZ4cjrFHLUCqo3MKIQSe+0LskCLDQ7ZfvlM0ryeC2WbeQeG4RSmPRLSlsK8W22bgCQO0pWwcCCXwR0qGbN1mt91cr9bR4l/+Lgai1XoEKx9ec4xJr0tOVtALSQkxb34sCA+29C3PMdI/claPTpIqTXNhge8IJStvpApFzOsxdd45Ohj+/aWFGGZtDU4+lFkNLUgXxmDjbFWp1iyrxLYQe/wfKmdy9N34Yu/j7l0cGMNnkKIr1XAxz2Ppr6BcAOOuWA9RlrjHnnggxp/qxvWQc7nMCEozuxzpfkWRV8ksatce8FmPSDHlAeUjI/7IhIeggf4ZtvVm5ePZ6BJ3vODyyeB+BG5w4ADcu/Ws9O2CBZ8ro6xcc1NNh7NALcE+uolw/VoTEE+C0Ag/uuSjIT0VY4jGqT9ecr6iLqF3YnR6k7p70Okj+uNO8YBm9wjUbNvZ+QtNqo5lnh8o0u3H/lIRPNJlQ/eD5CMk9sxZOAHrMUnE4iFPFg9miIgIGo3FHh7fjkqDhFdmZXrRZbL9bn0mVHr1HYDQ+Dfc5ya5y7V84iBdwlON4f25atLBLgE4ZH05N7YLaN+mZCnt/vHDfs/u0/N/nnX8IP0aAy6L6GJq/LJdlKiTkjeJbSC0oSwqQPe3TYt7moAsGpzwLlQ/2ic8709UKRrbyTgpnbrR1uiJN/BLXnC7GebdtSklONGaYN7nMRIdsfs9l9KYpd2eNNGWZblMeoE7ZKng/xzk8Haxe88DdkrCm5PTvQvs190pAM9A+P9IkLK5L6sHKhAEjtOpIilflXsF7KIzQrS/iWvG6A9oshvYyebfN+bXWMMKeAftk1B4Keo/QvrqwVdEeUWc/IaBqFaIxYGkVJQsImIsNSx+3SkXXTnVKQMZMAiwd621IvhHdsA5PzhV4uTvrx7btCvCQk5aw8wVX4yLYMtopLJBX12BcjxQVfF77nfJfYYoVO1pFKF5zt9x/n7TJiTYOz6yabuxE5630ntyh9+41HSFMUeOH2Jwi1A/tapcnpKKxLXACyn2pR2hJnt72d64OgeiREXYkwqhEDPqR+3jz4mXbuKYcHk/GYb1n/Qqa6MF+9HmAf5YaCnI4UDkT6RYluOMPnogcMI641YHHtGKo7uvciYBUCTM8V+GI0k0+iJR39SkmpyZRJqAMbx6YCVyP80BCluvvvvsUvDSILkn8wZvN+4HfFkQHQIB8B+tIxa5MO4D51m4sTEkA10AEm4ZeBz6uSqP+i6YMVXqPOR6sS3gM6lSbvOfe/VpzMKF63l3jUhjS0jAXcn1nzDoW7/+HdDJsg1KlqfQj+CoSgNLev35aDFtXXBl/F/jTm2yz+iA+Eu5muEQUXt5ecOyfZEvxNoUnv4wVoEw3Zaq1IKTov5qxNzpDX3UokHUzYMRjK0pr6zyb1k1zayaKgnWWp0pm3spNr0ceHlBGTe276UMR1IJhQJWIKc9cqdn+Gmf1RiAPSQnOXKj5GCD5RZfZ1B496c/W2qBNr+1jEQqQns77kIfUOd8aHNAMYqdkKJZrC4z/+jF5BloLPH4ygdFNpfXnU5LYA7ZKK/rhTPvKvBpMVlFjdMfLKjtWsmn9iLsPePq3JKwfaalQ12zX8xUQEg640D28MjJ3V0i7jCq6OLfrYuLEeuXDlWkzB0ZJIRSNlUzNFjFoQ5YpdRZsZrZW7r3debSXK7HNExL9fodJhnFx+BoHLKTdgEPTYx53NYdpJcl3oUQw090wqCjVT/tSMWMPySxkMMyJg4UBZUs5xEM6uzkMmE6FFUGscjVCp7IoyjiMveOa+sIAgU6ErHF8DNaROLyR3I0Tg6yNS4JaAnPpVtYC/h9XmisbuEHYVEFcvA1G9g5dZrWqoqONLlzEOCi5wm+kw6kcY6acod5ogvBFUkqoW31AdPDnHFPvm5nvD6UZ3T8/KBA9uqU5Fw4F2NyWhiRIzcklqdB4LuOUge/87Pu3nJlGsKA0lFbYvdM7Mdcs1ADBYMLLYYEoBaSfSz/k/UUloT7MSNz+wKdjWJcg0krXGKuGLNw4g4R+UoFutyIBT6a0mdeVj0A7QO97SwWxdMFeCrTviBMhusj1p3h7DBXkb9iDALxUM5joelsKeKsfu0GmqMDaKkwjjjpG91zIFuo5R78UohaO9ymVU/icNcVo9mikjjV0VdBXZYEaJTeJKca77yV8gXdXiy2hN2Pk3olCGcqN+MicpyC7SL3obLoiykKC3AJU8VvaUv1S/rlwhdHml/Qs5mvhWapmkia336qLBgCnrFnXzTArgZn2BVA95/Cxv/WJpFx/kI6mjsiELvndKvWPQNzaMq9nebweweLeO4l9hRpfFobzeALjFZwuN68lRgRvtkPXi5+EjXAIP4JeZbYmhBdnqZOj4q50N6Gni1RWPui9N+rXvT4MYELhExVbCKc9jb1Dp80reksRr1n81U1R89D5vFotJ2Ki39AvY9U4vLSxRlf1+bnxgmjQfBmJaQREueJj2xyQqSyYMosnW7eTUAMZo+5HdQeHurpfueuFOqw6Flqw+s/eOFTSTPbIE0k0gH04XbXA7ZtjT+l9rnfK35dGyTJp1n6xSNN6tSIFyezXj+VASpZCl9tzqDjDNIjgyvBnWJ90BaeVIjmmRYJu8DNAk+4S8Jn7AEUj61xgQGPCKRtO+GZwX7s2Ns9BFzekYOkHvZd9hbpRm7481/Ggn8WnF4yjuP00oX/nAqSSm0tb2fh0Xfg3Obqdc7b4LQYBsVf9eVGtQ1yJXPHRgD5Kj+Zp7P/+golIrvGvjIL3NBQrMjMWI7PZM0J+v+owL73wxAxldDFWRaioz6nTNQ0V0mfvuKlk8NEg+fiRsPltexWwZhQlnQQQYxDQFFwYXkwfCTPUyw13tJK+N/1xA+ezFL1L/n77709707dJqIXKhFd/Hnsl07RxxGBT6ZUZ4I9CvcVnVq3Zh9e/LZn4QYePgrjQWfyFGtfhABeZGCfVD744pTiecWr1GMk28mqC6/7xJ1uR26zvulasLHSEOBHDApbz6/69iEfoFu050RXd8fqhUvk5/rJunEjBe4P9r7gJGqOiTUi3Q7OLL65NgIFt9XtMyapCukZpuXglNMyZAGrMHeUgqXAJIKo60LWXES5C6bCQgQHx4y6GQw7jIhkos12uwvHL44r8p7FGm4zzPa+ygPStheN752HAEyGJs+biGx23XiPgrSP4M0IyxWnJhedUPlO21e2Zj0/zvkChnhv6CLhgSZoRM47WqLfvHrduWqrsT0HM12hgyZshNxfUio7Fly+XwZgT61/V8u4RYKxPPVFTeKyUkemwFa60+csaB5soFhZcFz9ZWr76Xm+cWMwVYweaxJiJJoAEyDgHrb66JqZXTIsPT3VAoGgtMiGnDkZzZTaTE/kty3CeeoAw4My/n72ne78jXBk3Axq3Ff8ncThpwhL5MlMDTsLM9iBBya9+vSmk//eY3dmSp6ny/HfmxnqC7hu9ULwREqBaZW0/NHuyzU41YC9iy0qToMHm8eJ3SHXBVhNViN0zCM3h3eB7ISCg7yzXKVmrlV6zXjFD/AMpXO9t31xSn1kQuvMUJ4pxsiSC9bL6qUoYNxeT465aonGsNYNkdBxtaSaSy2q5U8via6Nk9gVb1KTlL4atjXw1I5YXrbpDwSPW3w8ghvCULVXSySIiM4A7RuCL5ZRbCD1zfeFCpA2dIrzfbxFtci1ANK5jzozxhVY5+llBhXMoEgSlv9LD5irswHgxaQAxWXXF827aRgYvATy4Qgs4GeS9fe7hzfTqJ1XUy5hpESvMJ3SsysnaqUPCxnSTswwa4MRcBU7FW2xAx6IU/uXWvUgbZM1gpk8o4qPNN+Ajcmc2VzhZVMeXzvHGIbkZSfA20T/lUY6fqD+DdJ21EhcSm1yPTGR7CkLs643knZUebGRLKt+QFJx+glS5Qls8xaClurLshwB3XLo3uXR2o3Pru/E4cRoSc8YYKW9malyeF6gU/oI9Sr03P1ph0PIDFOczcQz2D8XlxoPfRTip/nVvaujHC7R61wUJQsbOjvQ08s374rHpFjBBmvmuu76ivef8oJfOZ0cRjqRiPt5nnKYYBTvDj0dentencdEbqJmlZEey23ke6vbepj9V/lzsN9vqgZLtbb/yFa1wS/sKp7MVT0zYE/mAFguJGfy6uKlhcW8tAo4GPQ2zH69Opy+3WHIrrgABEXohP3nZdWaJT/PUzYp/mKnU452zvohc/+4F1uwEvdbYVqXRCXY6KbgWoem0chKSArIc3pDYKb6u+l8f4lG2AHHGWutygxm1lS1VAQ6MPFXCsMxVg278fIGOQAO4Ufp5iF9I1jgo2k+jgBAR3tFF7W/FpBEuzsVhjqzmcDn4xfgOi8GpAwYFV6T7Re98XIPTm5q/BHypgO4t0c7fSCliBZlHJOIERCZIxrHyTRlJEr/oVWRcyt53WgaXjYnMekbH3Zz0jN7ImNfWeWvozyZ3DPZjzd6zqs+kBpem4UVktaVbEHduX0Rqv5BdgdCKxAYDzCOgZuPlh7PotKoo9sDsLTgsVItWiHlgZo+SdMFFRRSjOATcyQdfotfhLqttQ18CuwuKWIe0pjgznWWzjBIaqV4gJNh8tpWPpEXtWTVUf/LQk/97hSFEJooxAE9pqVC4naMG8symI8KNDoRYsjVTIiqupsadk1Qw7NrYuNYHvhbPRdZ5PqgqJMM7qgOGyndR9yFB7llFraCQ5EQvSFAPmFDwQ+0zu6YRe8k96BW6c/FEpLLaoWTQU9KeVi6Ex7YZ5/JgD8SZS03wxBc09w22EPR1apKooLJhg5qTSOy/Dh49e577f86KGfQ2l9ULuxRwFJzaA3dyr378AF5ErYFzTBtmKUEUqyvlH2J2FP8a76F5TlUxQ/VvtTVPOe9MBbQb+iG5S7Bq32+/t9ZVuLVbFPv7/tTfxFQetxk1robb62ObcXeStOEBcjEwPZXLCWdRsEH6ez9vP58WRaChae4leFdKFdSguUORGpEwf/GWw5700lC78mGZgIMJUFJ7LaThiFfAhZRLjuWBhz2NkgzL172DhqRRJk1mRDloi3eUs+eNuoTVFeP3gc+/nojJ2TtY8rMSGgqpTQYlzxc9u+u20/VBQfJVKwMhkkom9gsGhS2gLET6joGSIUvkTD0N14USjiHwTQXtgy2zUiV7qnZD4igHV4IBzLoVzOQFrgCBI/81xzJ3W6zLpFv39DzltL4Mx3rJcM4KsIPGSJHP5FZnQL3+t+p/UtruM6QWbWiLt48/JUf7mBijXWun6B9kx5jj1lDMCJF" title="Mekko Graphics Chart">
            <a:extLst>
              <a:ext uri="{FF2B5EF4-FFF2-40B4-BE49-F238E27FC236}">
                <a16:creationId xmlns:a16="http://schemas.microsoft.com/office/drawing/2014/main" id="{CA0AC41E-3032-6B02-3F25-EAA8D27B9160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 bwMode="gray">
          <a:xfrm>
            <a:off x="432601" y="1673182"/>
            <a:ext cx="7684704" cy="2100972"/>
          </a:xfrm>
          <a:prstGeom prst="rect">
            <a:avLst/>
          </a:prstGeom>
          <a:blipFill dpi="0" rotWithShape="1">
            <a:blip r:embed="rId16"/>
            <a:srcRect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>
              <a:solidFill>
                <a:srgbClr val="000000"/>
              </a:solidFill>
            </a:endParaRPr>
          </a:p>
        </p:txBody>
      </p:sp>
      <p:sp>
        <p:nvSpPr>
          <p:cNvPr id="20" name="Rectangle 19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hje5yuh4ZqNikExboSMu2t9eRhvurDVCL4zCOlXmOhfySdMYAjEtdKJ8Tg6e33yyZuf2q73SsT43T8SnTqvhgTqqLwO1iVWnDUKzeoKS7uvrOY6CasanrYrWmR33Fc6dhc2FseHTJN3e4p1kof9PsayLpvhQXDONL877vrO8vddkeZ7IjqbSsJhlb1T1ZLdnWC59nYVaFjTD6/AgUuBQvChB4moLQpVx9O/x5OsjueGvETibYGpy/b82MBqNPERe9/vORt1E0aL4AVJhXJZFAUE1GflQ2yz5dckVYaJhGSfmmh/pcmqAehPfcdiwbQCYER9widXCCOXrBqTKWf9irmLACbeN9j7R5fXPVS76qLi7ks4H+SQPiFRwPi9llfPgHMsRZpAnH8TQYH1jFDbm2+QGXPynpo8MO51QnFIzM/czLZaXu9QhoZj3A5z3MViaioN71LuIGiHeIURMQjAQZZGGKvq+H+hOBogPhYaIo2QbolwIznYjy4boWn/yuavdrqFRTUCB15KQP2KQiZhdepR+UOpb4tZySpKqCaP5lPlXbXkvHPWEGPoTLsf8SntS9nPxg7Osgp0Zi2JxTZBw5QxRmD8XfXT47PntitSbCkuTOPpDIjieolvoGBW4MF3MhVL8q9UQYTGd0Zw5MgUhO56qBGKccuIzPYu+ODruxDb6mgqfttM/LS/bcy3thBy8WItzVeez5EbstNjE17kcZbK2zZKGlR0E1OunZyFBHJYVK/8WysJHgfae6q7kpLIgSUYpr1lj7lUturLNLJPQZT6gijR8b9vZ6DpCHhdQufyfWKkZndrzP5bMv0O8Fkg5HNi7Yk9Q3tu0Han6iztSbKiXTAYkcAueul4fjgwGEDphTBtaMTv5NbgWmIdEmr9BLERj8ah6C57Ulg+hZGlH8H2exbZOhBgVZa4u2OqnIe3lJOI5Kyyn46ZLEoBB1WOtCqY4d3HL2A1kttvcMBxaSYIhZvswh+dP2hopE33qV72dxT7JxlAPcgTFgkoDPzl2FWLNpF2E3/n0Z9N8dlS0WIoyzgs0VRS6Ng6RtL7AT/IE9iJF+QoYaEosEKUvC/jAWuX5jxkPLV/p52xX95FT6PufTay4WDhVhFIzDKPYLf+KF7xbtOOneD9tE1zN7ZnT4ra2CU9TxA9NMkwpFZz2A1wGWa8PoHJOWyhLpib9D5NVK6eEhSjY/l7GBTeSEbxs/7ij2Ubum5X2MYodsADN4OSEQnLcDaFqJUtK0iDhWxiEtm4HLWfYCcFNw9UThmYvpPwNdP0j+tq4SH7mgIsQpgJTxwQjRq4y1BL8X8Hnqn7fJe42yC8Ol2dk8mfwoyvxO8z/zBjoC/W9UMKtowyFDY729+rPmiekbuBpKpfIqnP08aGiFJWYgEeWS/FQuvBy2MYZEUNGWm+i5GOUEoXN8C3bqw381gFTNVl41pUclwYVnZleSiBSTNu1J8VVD6Jn0brf8VTGCuWmy1gyJxCaBL+eYlcoIGPR7apHtekoa2pXZ85q8i9OygD02H+8/oOluskWG5afQ2aP6sTMSHm+7CLclhJYwECBpTrCCwQFKKcc6xsoafn611nNUWa9rJqifVrAIIZeYU9LQ46enX68Qs8vx7vu/Jv2tuZ1T8OIiPe8FBv5YZig1NqcbQOoQ41vL7FLY82z8GadxSFrn5ul9l7D5vMSYudC59JGCk38VqFGkFKWQiRGAYIX5tCrPcwjJT0+M2kZyP1w35+2PleH5sT+AhagOXW3/YLkI5yp2OB2OqooNU9Fz7z44KMQ4Ls1phXR7TbHprbq3SkBcR2NWQAYIf4etoG6RftLcWN/ITO5L+an20SNgzzrk5aKq7PVKPL+b2yqeiZ7nzz2jMMfF3MQdhrTTG2NEcyMByEHH6byUTZFamVf7wDDLv1bRDE4mVOv2xbn7SayhoIsPMgpTRfrS/UjLEA5ZFts3JLNjdF/oAWVv3XHSM8P16uA6kp0ENAWVWz+vXGrCnBH3eDPmNBCBhJzCb75qkNmcF4+F8Q2Fe/OpP5+YyhoYxTEz43FDVjNNQmrtfuEd3XQVu2VWVEdjXf64yD3wbUzQ7LzYFkUc6d7cF2Dl2EPprXLZFOHH+mwN13/Jn95Oa8qaLuiZJcKHblan4NVIW4C2Kqy6++9Aptpw/kzkOUD2kiNts8iAjnea9fwabypZ1wrrKCYB4hlJOD64uw9hQd1msro2dnVBZxqo+xJ1tMhvbQIHnK2REK50bpxSemCtdUGE49/yrC0h9xlLhEij8dB/5rNGFos4Zvvcg9zhKDZLiFWS2giI5moiNUbqinMEGT4eUL3zg+reNdsiriSpsIVWnau+RAyDCae/zQOVj4fk670Y9P0zeWrnKZFuCaiHtImcj9qNulIegCI2MWDp41Nz2p3VVrffDRgHbnHxCnEVfb6RrPJxSLcxsu8S7VowY5saudrWCu8J7/VfRE9MiCysRstlOdOkuFeN6pmlUdD8MLDs3FV9pW1aoH6SYG/tgdM8XD1nZWlnsgq2+y9JxiepPvB/OHt2DohSvF2UNSwE0tJmlCDz39lyw8T7eh261Osg7rcjq3vsrFhzA59bxeQOVB/KdaKE4lzVLkX42ctlpmsyLIIqi+4z1I8KGYi0ciTJ5m8DPwczAF4VJzR45q3efrpm/uO5VCCaDZ9sFSJsN7gBWCqRlnNnWKZtcMkTIfAIVg94OnU5sDfRqtvnmuFOZDWpErV38jphc/2hG01oXTGaoowCD5PMGP2pDtXjbfHgbH4XwUrOnqREdlYs+GgP5Dc0Ws5mBk414NU8jhwRhGMGz4CO/xpZnJyfaXyKE4NkkDF34QQCbHD/h+8SEVMCWudC68ifIa1edSkoauzbgQ0fWxEB4HyoyMCib43Rtruyzv2og+3q2ln/b0hMlOQ/fm/zaAmLWeL6zq2Wat+FmKdBszicGZ/HQbNMknJIc/fryChINIT0fPT3JSRIOwY+KGwm8HA9Y/T3gWyKd/jsiyBs1f0Rbw0YKN+WzIjgmGfIUqOzXZTM1We+w2R7rq+K8BxPd1KukNWJ+F3t2xouHmWr/Gv2+wrzg2PsoSVYeGPeu2Bogfgn7y4pHw34DgeT+7SnHYLrFbWc7S5ybuJ/cDl2Tnrm/5NQL6LJ510GyHpu4F55gKiHF5keWUZrKY9Ave6flvjXGAYb/+KhKhqXAtdI576LtaNAqtJKtUbyDWhTtHT2rxj6CW6p4idv64R+YX1Ww1buGKxdTNVFxfR//yw0gL+fgU2jf6jHvRMG1ttXkdNWvbS/H4hd+ojCTIcndcbZ60mnzPDwo2m94AAxrMsROMZCwaisFtfDrG5vw4HdE4NcYlxZCTbMTW99LwVlKi/g23s35WKhLMiRpL67/a76I/W0N3u5eJrWVAnumI6rNOZlMNo1y1/avlwvoyR70Dl3abOqZKMdBnrbiY60n9N8Parh19Pl636aHeLrd/96HoOQmYYM5WtLqUPEjmHE4mUo9TqnQ7cfK8XaYJX6z1ThsKYjw2btesjt/+bcI3ZkrW5M8c2USida9GIX4PYPLpAyZHbplb7jhjw42eYHSel7Pe4i1Z4ng/t5sVRxVXdJRd0/qjGQ5ghOhsJvVBReXWOBchajW9vhSO/6uZ+1SrRGhq4vfTwNwo/JP+2T6Pk5IE0k6heMu0tDcS174RWw4NH88ML5nNz5jJ/A1r7FHjnVpTis9osjqLYd/lyjF7fLu07mr0k5/LE8zGYGXY23bE0WAXSEO+8YFy5l48doOqq76uQdL0OJ2bXxkDBJNIq+T7p8l1XFeygC9NnUH6VeDdkUGuZLbncq4RxrSfCfw9COhoFM6f0aaxts1Cjno8wlzibWYY+aSOcqVPToATIYdXYp5UloALaTSkAB+rbwhbM9E2mpEvmOFPpcpBq1cUA7auKM9LeHAjSSDwN9GCnWZvlGTOcqOfpJowzuzSvMnHQDT8smZa4QU+46D8LneMb47gBTZpYR/nSKle5JTd7fvf1MjyAw6zcnrxdhgOni5C1N7BsDyMrcsDQLQbOFFPT7zW8heDtFb32KAtTSB/ujsnfBP8n3gQMoKbqazz3jJY9fKztMjwEyo0YDMidBh5bUu/sRjF/Mdh9GcIEuSXYrciYYAbttfgRvD0jIRwbeHYdo/+3ncpwhjN1re35EMYELt6rS1mb/9d/AdMHYllZ9uGVFqxAVtUhAZ+cHORrZ3iWImbZk7CybM0ypiZGgwdhSWoj7rnZZQtP7pHl3qP0/Vd3QvDIe3aODNAyQFgMozHUQS4SFMl406ms5L+FdRj/9uGgMYeRAUTt2J4mlWNlG7nzsrpPkF9UBLqlTxI97PtGD/iSyYAQHePJojl65d7YoG1NKNfGSpRWVwyjbeRl6axrG98teMy6J8JTmAiHXNyQmEPI4wp36B8+9OyFwsPyi+QpZxQBLCbj/8IL7l+YBeR4R29Sn+W4HePz7UDAr7qcmHmLw4m6jIzKp16ap/wPI7qpQ1Db3+U/Zdtgh9CyLwGqtDkEocHZsO4ppbSjK1Im7pQS5QSeNuW2S7qsS+sj1c+rhl71I7vM9f5Bwuk+TPdHAkPGOyqDraYE2TgZHzqf7iZOSUf8d/t9L4q+q/daVaaPIKG5gqAZWGlsGYfhPgbXe1Og3DW5z+ei3TOs46lJKFIK9lXpCZqhkE6GNFEn09A49c3zk9O/O/g/+YBW8dWV02UbnRw4zoTE/HEcQleg2Sy3bdpCRCG3K7ByT+CzzLCrb3ee95E0WC1g1pnzloV/+2WHedJ0KbBfA7XOGRKBQTBWVsgXth/1iWahUqKAdOZiyueLptKYKD97SOt7zwwcgU1USypEpsprTfziiT75fqpzeyt2yyOefBBpiYTpOCEWzYDP3bxeJ6dnsLrudbsOeCMTsCFvQfDEuN6EFrq16+QQ5q0MN1Q8K/+PZCA3c/tVeTouU2PkoNg8n4Unpx7SE+fpsQ7HNr/Ec3Gj0mLTshYXmwuqtEihGuQdVFzkAM7oihYvept32/sNu4TA6YItD5O8RdZNNZ+WUqRDp9mqsQxmYfzxol5jAPcBCJmHthpuoG8W3oGarsE1SfRn43dLlf0EvWHAc48OAzMVccawxyPrVP0hSmu0uIvf5h4iKAaE11D48alLPlD5Ftc+AemcS5uwGxq9kUMLNsqAGzBS/7RhSc7xCdxo8RXdSYx0aUzWoUPD4gzGVhbC3RPJCtYefxrfMUcxifZd8oSCxbrShgWZSkRp1IQAVyFt7bkICSLk/5uOsHx5kStHV/hku4jG8R4D7NUUB4UnD7/re+pAiBYk2w+bsG4wyZ1fNpHLuOjqV/lZv2iOy54MoETah+kBfuQzfQjew8a6zMnMdW/c0vz+xLE90E/fj7Cky+qAz1TLt92dlUTPR/d+vpIpEMd6IOPz+gRV3LDog4Kfy6TMYKxZYQn9iji3L1s8F1jRxsuFvZaCbZ26bJLSKK9AOog4HtVkwIEa9Dxf1XtPJ27XyoqpTory0ImtnlrGDXfI81/c+LfVHyzoWZO+ZYC3mz60k8+51OVo+xuALMtN+v2CuTcLbZ3pDQlj4k/nILDN2hGeoPO+t+PsXrYpOzhfxQ+EZa+9Oog0ijeXIotqhzIY2b4ZvCXM2Q7tHYmyxaSzDobjgQIwIF7EiBn0RIYpNFzO3rg4umvpZKZRJYwjCQzgOzR/gojCkVM/Lud/n5UdZqcpx1Kx3m5LN7WfMEwhdpSK5HNoax/tm0K/69SAv4TskKIGFiP9io3edOAKQjdILST/VsHntOYCAfvSG/lguwMLlSALjFBdJdA/6trBthrlD5vJ/Fafo7GGUykTim2Jb8uZQLuDwUR50eUpmU53qRzhePzgHUhHiUYXtZjiVl5f4VmIXm1ibWQ3H570Py6NhEwGDGMrQ5biP81p6J9ujVggA8UjBanYp9WnrhftCUkUQ5PtjfXKlSrrLkuOUntn81mmHaX22T0FQFHKWURFEKhjTGPZHtZwZb3YnRkI/oBVOtg6xKq30WpLjCeabnejbkpGW88VAA7dI6F/5/EUBb84MEBfsVxEfG4PHcytfLvQwIZ0WcHC1n5fxLxgJGEj9rhzG3f1r3N/TgU4mPAUzmUDjTcwFbH4kcSpYJD1b8ZHVRVwSeD9T57zPKRy1UuTGGkygZydTHXLdvSmohVLNaF7jn9l72YWeOeODeZK1RZUfD4zFe6QhpY3qwAlzfhi6B4vy/r1uZkPOm+U7FEppPKx8Kgvc0J+1Bop72Nkx/4FoafB1UHme7YjBCBSB9IVvVCAP8Lx0IDAxTsG3wJHKzzuWlXsGScl2L8EHqmpjjfvhcL5QtNiib6e/Ewco/vu/RzQYWVuoqdCSwaEXiqz2+N9vHQwGlpGCcVBmm88wEQRNiy90NbsyTb43vmMtmK8uBtz+Bb2cGX1JEGBkvnmSXUxKkOQzs8uzwl0aXtTCZwt+7lQ0Oax81Xxvmb59Gs65PGtUraMLd3CeCb3JLD7elo+WgoW02KUM/1EtMh1RD3xV2bz5aoRYR+i64orVIYwIt8gpnPVG7ME071AxcsaJwi7DX8f1qBQ0aHF33bSSBtnVHjYC87u5AFt0mOehjKnpzJvd3olVtYIgc3je2CuexPTHGZjnWMqc88arxKWVLmd6Wm3KXxIGC+3yDHzAJ3tuKI72WMobMtPUiw4KaA8Phj2w5joSaaehJXfx08kQ3sfRjWjhUVMWmVH0GObqOism4hC/Trv5w1upud5rBHzj0Zegd1I2qRC/irNm9umRbqPt0M/WCPGizL2api9QGqRmYCUI+eIO8B0ECpnXZiPTuRId12oxTyx0Tw7I1rrixlO7MUfT+o2rSN/TmFZVl7WhnOAM5QKtN0FxbZVPS2G15uFAR9G0yvlO1asAhw4U28h0vBAG8S2jnQ27a3DRsqFDdz5pTwtpDY0EEv9UIKILDfUzFni+LAXO66yr/3Ho4oV8s1/aAAsmT91WA/YIlFu2PURvYzuZ/1z7Vg2G9qDjySZyqPqOQE1xwKe55RVRXP/MzlDY1dGoj74Vwr4OOG2HGVyRCG1Z5CmgOq24fEBsjw0fKjHDeo32qBEqNcQVFcpMG1n2h+pR9JyXZTxWDFa4IWnIUpb7delOCANQOMKbVPJSKOLNX/IfKtf5ZrLnRuE3UbRt7V7I1FsQBFgE2AVCxQWMRXX/QLhG0TsjMPe6hFYSH8cEqhPvnOEEKh+gzpqU9CqaTD3bZT5/oqzwYyehOx5CXUjI0afG6rDEIEpCqPkuvbXYk9Di/hbfuSh2XjqnjpflBz22BeHAWQvwmXNZIHA6hFIGhzlZ6vykAd2F/cvW9k5THANqyYYa2HJdxDHdioTOXswJJwg1CixXbmM6P5sESwrdv6YN7/7YC3OvL9HS5Rn2MkgoEAGbMGssJxjmbX3bfq1OQPWl001XSgMo/SyQuu1s6KBv3fU9JRJlHICvY0ZBZYM9lPZJSmCJwHdLMy8OplPYKjWpzYkdWmsAoldgpsQ9HpkF9B/R1QZZrwqqilWJMRGb4sFDjgIAkn+FpzkGHFtUQcp7JuBHau7fIzCx0/9MiKdHHdCAulI+g5BPYxAtyr48bNUhini0ENEH74UaHX/Nw71nMpPU3w3fDoGsRiTyte8iLX5+MvAVZvoo6T9zv4xQ8shAEj0wpfOlNqHh8oLrwtR/yBgGMI51DaBFOS8BTuLTjJbOlONasd6sN5bfw3Jq3DNpdnZTSY2t+rOPHfBIacq941AhXNtdnd0ySlD78aQT6oZ5Z5enXVQaB6DgT+h2ml/Wpjf/mt7gPMQFIYeNq84B3qFbiZg26hKXM1ErsiafxUsmt2rQ0x5JWDRFJD6zNgeqqA2TDmgKzSXUXic3xt571+MLSdiZowDkC/gI/LfFBCSYHzY9diX5oEnP24Ny+ef/6A3U62Af6ht55OnJLHBeklEqpgz370+39AX03FGXLbcHZv078QvMGIn0UBoXfy3Zcd+5AcVg0wF+tnQ3F3Si91HkTvvfg0B7B1n8LQ9Bg/uG96dypitJcFhkh44JPWgY+5D2X+mO2+KZ0JMo3+knYnT9hf7XJzYo6vOUt30STjECBPwVd3O+Je96JgJAFeb6NmvoySmLMryKv+5hgbu9kJKCuOhOTArbSaQfNt9AOdpCjHxO4Zy7gvJwy29MlOVWmFcW8rwLcWNhStHZxaqyJoxORgRRKdTiQRKL0Vn0DLOSCq8Kgf64ZuL0ppLWH7nY43o21+FNC8S5+aitUWxI1OX+LzlwdxSnCjMSJOM3bA8pYGUN/rHhxzcpsv7u98gF5vllqmWT+ZC+hUH7Kasfes/3igQLwaPul1PzySpdvtRut/ElFcp3vb/yLGhOx7QG80bx36sObHg+gUnuM8Odv3PvMS/YFEI8AIcs3z/JgG9Gevf86aBhbbMGjGyOXMC3kL0NcHQktvLd5gnxhu9g2Zo3o6160r5T1GSWNuyfZsbla6gZGuCktAUwO2XLzMUsk10lILzOob3ONvlS2Mf3n6Gqro36nZ9ZV+uX+Zmm0wO1NfqM45H5+MGIcK5UFkWKB5TKYtgwWxIUyYMd7cLa9fpcMAdUMd58y70yypwVwzoRGOBmQGVgoiqbhI4SiszGwIVNAqbtjV04ZBDwAPZX0hMbprJWrQeODf+49GAZG0qfvAdcjvh05bGXWLsqqkVzvdMtPLQrIKvVDxptMRLqzlYv5Q7LC0+g360va15GjMbi7n20WXxelWLnOAP5wFhGI6H1Q8UyC9rqJUyQ5UGuJYdghTJ0+ahShAhztzpDm+MBXps+tX1munBnKBl2q1QzXrCgmQfciOlEw7/531kPi4monGGYn0umRxQO9MqL8uvQZjxKYycb+0r2kZtsDEPsGWyVKrlGHccKMK4YhbcO5vx4picKK6far0XACg+7fA1xSUF3JudhHzz9Um8Iid39fa6NCqIv3MdRzeIBRPManHevsmt12MFSU/K/WliByxzp2nk4fpA9qFytDGO3r7TYvGamwvTiE5Qr26156h+imFwGZMt1+uxTy7pBAYOwymyQnMuwlv9tMC4dV5udMp3HA9BhiVp4XvkhgmiMBdHL6eqvytjfs+lD0yxwW1To2viP/rVehmz2RC0+Tvz/QvErUUYg4xYScbqdgPgctDF40FLTo2Ci/TIXnj/zKZ7Fxjmhr27mTi4gNlrybFiifakrQfz0TSHr4e/fjkng7BxpjBePXkfAhQEoPtVUq2aPBCgh07JRwWW4AkP/J3wO6AUsnosdOgaMUdm6ELYIEXP7TH4ZfCe1bH2sI/vrGKLRdLLAjYXcjy8W7vPfPwdEbBWjdfQzeuTpcz4JVgq+D1dsu7tsgVWNR/0m2nptSLxpfYzB6wUGue/Ml5tddZtMVkkzbiufA70jl+WXN+bZVvFDIZQqnTaM8hRX4IhH+fu52cxiiY9GCCilWHgc2kEsxxt/tLVG30qY3yTAxBEl7rE1PlGwE2UcebyldGltVj5HtmLLSsL/6zGjok3+vFe4bUiYBUzucavKqUUiMXY7YCvS//LSiSgSv/tWqB3GIeKeLTHWsbbc3NBkEW9uo3cT66iKk1tefnifYZsaeX63GAd9Mjf8MmLy+kMj9ONQRDNFLcLgwnHBmVt1TEKXPSdkPP/lYynVoIWVu5nv77dVCgSwVrCHL9j9pACfGrljGAt21fE7QTR2iKeL2l6F5chj7QwKHKX7aI6IESgvaXt+BUzoOYlcUuyapHEahpuOb1Lf3rKuEUMgetoWW+VARBOKpwCR6xP2OQQSNAgUFlxB2Ypbgh+d+4UFgVzrumnxCXQbTX/6Awq0RFLOyjyn6K7n4RgjdcWzGDNviY9NrMNb++KisBRWuhBvxQLNptIIFg5sVn8yWpiUMKbjZKtrh5BDgrq9ze1mtzPec/xNn3dozTbR2i5O6biRRsakRcdKPAW7GPDBOW8bBXicwu8yAhmTrhzhZP9yd0zz9UBzdVpYflamz8PCkkZbHyJuhBXvbdxnXmniIj6ALzt3VRv/kJNK3rrKFC7mUugBtan59nBhJypLHehh24+ZGqIOaLQcQiBpoRbItWnoHr9mI9r7j6bq2rHhuyw4JEQtqWyzBdp+T01tSPsRDt9cwP3zmWD+2wOoiLx0mL5ngOfu6LCtACiBoz1dXUCbwLgubHWxSsW5JeZIkudthdq+XOCTDZWdApQN1afW1pfQi7veGt5K039+8oPPv7Hy4xgyEEWNBrW2lHIRGqDCQoeSYGQEdOj0y7j5EqwL0bFUVY4pJjlVSwdA8sWVVBx4mRukIJ/rnRrNraTekrCgnfxFecVMQ2PAQ75eKLAThvoQGzRQPEXCkNMKjIlYH3WxqNvFf0Ze8AmaR3Ea1Gb+TJgLWXyvxi9tuPq3YiFUX71LCn8gMIzCUVDicuZcEwqHQxfYN7KZ8E8geucAGqZfhAG59d7yA7HsMeE8d5rqw4HJwjJ48ZuMgRsB5mSkj5PgFuvIJnPOVNTe3/vMMapOJnZmEuNkiRXtHc+zpmfIG9v2hvegq6eGNUtvBJZpXk4c12qcdXYalivXVlgjXiT7uYTV9LrbryKg8BhWV1swwRPOsd6ihfgd2csat776kZJp+Xrkl6wWzkH2S53szf8+v4u/OgQnxeGMIiLVN0G88zaCAJV10j83uDO6qFprjdEyPgdYRwfQCjz/fEV3eiBPWbK8wsjnHkhHYwa0iVqUkfUAqyaekpwGdEpEH7NWgHsvMUJRKkfGscN1kac+3Yo2XsZAERAB39lVqhUYkRmXp8xmZX72ETSTlJD+ntjBy6dsel+F5UQXACbjnSNYnV1KNhRYIn11Gh18gGgKvkN9aAGttXlJ+mbjinIQN6BiaaQHaBivlCEcg+h4GBO4d8xfESuSYJNoFLdLMoJL3qbDTXl4dBpfyc/aFy0ayYMzL61BnZkZW0PzBA01DmjAb/Lu0/uFyZ4D76+w5V06v25XUL3+yWhGIjXOrAa7Mb5PjbkfiJBtMxmM4Dt/CEu7NvFge8JO1TslHQKCMPj/JzxK52mOba99AW1CrDcCC8kywH9+lwz1ae8C9Oph89ApiIatJWnNXm0CRt/uGXArP528l08f0QTx+sMmQxBliGwOu6HE7xrXmvi2FDNxPPHdOvbvzndAPjYK89oZ7lYfAIBfyjwJVQLgemlCL/kFoF7r1lb3eFrcKDNTj51DXhWoz3pPzwJDrWguNXQ2ed9NUA67k2VFZWddwhLTYY4nmu7nau+DZmqHxWsYPTOF1rzByAZXHhwSFwEgzNSaSrxUZWVVBSZtWcI/L4qKBtO/h0UdmJaxNLO/a1TL4vexT2vI7/3tcoQaZsaGorePMgLDrFt9K1A4mFacdGvfPFOpikTHocu1HzDuJuCYELnaYYXKdqTP6sC7hcee6y1Ivbv89fhcAikXIoyUTBX6tTDJbDGsX9R4H5gsTukgd5hNy2Hiul1vc5qYJDA6hDyfuzJ41Wx5Mc+D0Gk9re48KYH8Hw/gB+2ntTP4z0RtpLCgNafrEjLpoSESXUGLyn8yB3ITKWnejtj/WEvT/de9OIKhwDJMg/Pcv7izl+gwbA0UTCu0y2mZWgSSEGxdn/zEOgda1YDLDpINGW1s5dfN9/kEtL1KIYcyCobpQXe0QnSmC0CW8FAMs2sVsEsWkWlGMIHguUluNLIdJ2qmghbmxXIbW4hf2RqLOPiZoMrz0ltobuXkVg5NAOKCgMFQuh4z6kXPyJIWcuCYE7BMaaaHnlVvDGkV3GHfo5s9rPV41GoVjd2jSL8C6DuRWNd+GFkIcMVMVhNxZuZSJ3pva9huxmIDaLEC3sk3WScwNfh1hLKFfrh2tw16M7GT0I4mhrwNZCvQyrSorBOac66acW31bOFYjAViIwjy6YxB+JgJuf2QyzhMx9OAVWsHKvuVjR5in8opDbVczVLJbEYf0aFHi6Wx4CTImMgT7comO49QZswZpvUP/sGpClKn+VQC9WLpDuL0VKHLPBFX9QO+iqV0qZFJph4dQGP7qAf2zBBK3RVO30F3Q1NPL7t8WGLQ+iumOx3+7yat6/eSzic+6NvLo9k8Q8kBwicCpgjypGNkvu+Y/HI1Ec2MxMlULPxW1hV5slUfB8hhasZFbowHJ93AZyJIF0TjZNOodh+EYbpCFMGSpy7bcViOCa+NG8COKPlCk6Tbrgbo52skptGGa05PxWsQinsSy09EKw8MihSmOvmfZhycv4cmbN34BsUtZkvMKsaJZY0mnnbi73q7QrUmIa0yX/4+NBOeTjxi1vEm5+b64eIabouGxBVwqrrDZW/khLR43o6GWmAlGmqeQkCJYRv3k/Cy+TJ5qwuk7JHX/e85g3qQBTsbBt149i4Vic+PgQHNO5eFZwTK7zm9RnLFxey880q8eq4VIAowSmyt4xeePvs3CTVEUMGW6ps9owTOw0fPN4Uvg2siJahyQXG1i1Vz6QL6YcOPF7K2sGVYwxyExECpDR/9eBHSaJyfwtoofx5edZR8p0NwhcvP2mqsVJWQjKKAoETActGpG1Qd3JOvgnRDfs9tP2703jCz/p734Oqmh+izmD2xjaufHjqflmVcITWZodlyT6iqskDY+ZEW3bLl8AR8Pdp4DWg42wRifJcRRhYaRrMAMpoKgXpKZupFN4b/HsphSBcnh2gcbxFBGCrbCRTuYPAdSm4J3fx9zPfOUQWObbQybv9EFU954pC0Mq5VbzKrhk2Ru4gTbQXsZtF8MMYh2lVUaOni/x2dTWinfgyzsIxARMG5WXFqmJpPrQk8lcfurJoA73WgC6FrFoFZFG+9Fwj4hgLrBAXjj/Ol1Th0d3YhhfdiKEdYh5mUzM15/8Y4zoExBqRRAbNz0u6i+oT6nytB4WIkO2NwoBVBW+c7yeemKc6ud0WdME8pGRg8hugac6QTn31v7XytnebiCAYL3L8ec45o/B0N5CpcWVDslyLwTexEOM/BfUxRlO9G0Vv/lx5P7zYyUpZA0P3UR7f9OIqXl3RrYPd60rCzujcXXg7vLTNkVzB21C706fcffYp+UlH/jgb1G6ivu76Y4GfJlvy0cSY9D2uvinlSEXUgp7kKAeLRQqSSoQ9yHlNpdebJ1vlJ9d9XRFeLLr7hslDJyQxGIZGeamdj3kZ8XhsaeoS/Ms46yYaGP13OYQCRvpV4SISBcIGURAlRSbY3o2bieBaycuB2hoo5dG2Nj4oq8BvTPd97vk/N8ld5ENpUV5F8FX+h7TtRtFo80OMknMSeJ5u2Jqd0wB56rIu/I/UVWXiOU6QlhDSCRXA1azwH6N++64qKrJv2BG/0Or8DnkS5PcScwSagyZIguTVLI/uFKk6swXq6l2Xvgc5V23wYCVJRj0/qIUkx39KRArMwg3WS2X/gA/zsvpHT7hQV8v7bWWJvLioEQ2Ytrv8pTbFsAIc6pdqYql7lz40VDu30IxgfRLCciTYtImxgYleUClD/aE58hbKKFltLpJvZOWk1+fcHAYxEBNSYEENqrHk8fLtVNhVyGH79J7HADjiKFRg0dHxO54BBWyecdsg6Iq+cUILnBMqc7G+Y8RIuGg7jzv5r1QWdBIPCUHetrat8NaqHhDPankgbYwIJYH8/F4fxQFg8VhLibVpP7jtlq+bzdqZ3xQzHMIHqAFhBU2HoJNoz+YI2YIx3eRU9PolrNqFmgh5AJZgTTNmZFrJNQliRA31FJpzEAsZa/HyMbmTMI7ALvftgEYokznI+otUYs1npuN/K+uJq1ppZcncn9DywQdY1WZ/U1MKd9KyGhvUZBeQnLatpppy+O8w8z0buHVLtMIz0dwemkJnjiAMWhH+wCLXS+AjIok24qEqWunDr1j4gXUqxnmZ8rBVQ8fOxBGAhbxF3/p4CV5abNgLZrR0kGCPzhmXnuHXHdQDb50jO/t1PV/vKIAJ/n7LNbvi/2HWokzduJxKW+ahQ0c0jjgfU6c5OM+Tx7HB2PO8InruC9rgcunBcDMOHiJax4gwASGJ4zXhbzNZNkzj1c71CedlIBcZxUaRTzjHyJpIc47t5DjPQ76m2d5TWGczxPapxE3Dm9gd9MAkNgi8a81Mk1792zNEdEgNkSxyDVePFL37ICpG3UqiIj4dHTaBVsYGwP9WswMhj3USgpOYXn4y+BuAaQpAiu7Kif4dc1MeMunx0UBAcLTeUv+b/zXkHEqSSmPozEAHK2xhvFPkO7PasGxnFmyQqBmwvrWXQr+JYpnEwg4PrCeVFLn90RjKehnUyXPs8zPvlqv3KOsNFBbsBHhzG7JyZqgscfOs6O3y/jMizv9QHuOUxjHDgC17eoaF6pzdMjrvOfZOCUvg/QXUyJGgjqxuzE7b8I1AOTHd/of6zHnqvn40a44w6HChseuCIc4MWMAcJaURE/efgaXGfw0Q9wZTGgY//MIq/KPS+VndgbcQECxwtgoMPbifBSReiTSKr96F5L4xmhgfG1Ln7lBf9jGiG83l2cOG2y7tv9XkP8GQYVapmrhRLh11fVJ0vG+1LGYY3a/hm60TtrNan8VhltUbw2DNKrpcIPUdOwDFIJjhZh4FigCUnBvEz8U8KetV2giemqEtvkgUMipkd6mMUNmFM32ZBuxqtfGlTkQ/x1lWBao2NzRNwywYbzJLjmzogyR2lAUj3WpRTDAKIHSck/MeWELVdlJolSA7cC36kdHHXhLkxo65nGcS53hR3RZ0Jq6thiEKaThDMvfNAUV4Ui7zn+/HIwY+aJyQwE+bb6YEkAXADQj2SCFg1Ag3f6AiEUPDzg9aFweIw+FQAA2Ad6ZgVNQfMZZ0YzsHurGu06ehB5Kt/uxDOrpOSCQK5lAPXOjvvRtXg3O/fgMFnr4UKSWiyuFZxfSRSOYHkYPKslrVPTI4LLWKGpN6bUwiC7tlUlNB9RPsQoovyiHUM8zVKEe2fyP8MCshhCXN0CUHAwyK2yG1SxtHISloOmVN582JPxrQMMcTpgWPkOWMtsK4bhlaa5fO8Uhq4C8zFbNwqIxP2vlMZoLIpxLCHGMLfW3nBqRn4ZIdPo+tMunxKH8sBe/bzlZ0lQEB4g08qU1Tm56nb7G+1vMpcouD2lAc2pgLO5OT+uHZlYujhKajGeCqznQj1hVww82wk7+/5mmkW5fTWjktJ8ViX8C4IFHOcFBF4iYjNjnI3uy2M3xMJflA3RSFZVilYnx/UfiqTD997Z0MeyTs70UaXMrUGZJu4usCNrlisNwC/Qznt+kbjSC6fRD1+ir4VxtTXGI/2kzCmeQ8TGBWRqtExGOuK3XuWPCx6GP7wefIuDunsaIsp/3EvUqoyy8hXz43WEg+t3aw0AktoAoQgJzoonjkpYC9Er9/Qo5xpzEgq9L6EGutAvwmIf8TX6WuSAao24Q1SAEibBKI2h5FEVPtSEVQxm+D6OefoMD40mlD0beN9psgF9gRDMgMkPfyf2Maw7XVgiSvJ0UiQz2vD8FHeUh1JPw/lliDJV1fOWxnTbZPxhfZ6r+YSVsYq7llSnqmPvhceEXQZCyZxAxO2zNIU5KKet+oDruQMTc25clEjwLLykxNkKdJMSX+FuPXb3rAHB7wZHSvHAhQkAkkvDzPFRWwbQPERkbL+5qWJ6amhu2mWGuPcfjydzP8f9lPJOZBwxXm+6oXhKZAzW98GBru3aaTkkWAUl6FgoII3kdClkbyh+b95pJFnJGVuS21fvvtYpkVcQZdOTb5msCXtEoUhu3bw7ivsOchGNikk3ww75EZ1foAnV51P9eXmtkcFWJgOxLQNCobH2bFziheyUrOtouaOX+JUYYtWQ+1vNGuVymr5Z6nTfxuU2zwG1g0mnqIpg2g/KngKXvV8BJqw+9IBjD5AHto3o26jjHIQ28iLK5kUZOUUDMZKDdLKO3nqGCdxwDLpSRe0dSZSzpeY19ia0RVWT2ZpCGxVjm5LoZXkIeRFlwUFLe6D1tWzPyfw6uz/7YorpE6MNyjRESmI/g1pQApx0I9WALG1m2/3XmUUHXnanZWmOdPPOUXuBTiM+smSzZvsh9SHJqQ1Mup3Ee0rkW5skXCuuJLOYP37rsIqx0Qxpfn9nJ+vK7GGB/PCyxbDuFNGtw6SeVRhKlYQ2raNeU+gfM9FQPdQkGNdWAU2KtbqoF4XYmMtgZTtWeSwWrcLM4xiXgrRMJWFIoCEeAZd2ROTygGm2zpl+/Hf3znaNDn+0qrkqWivzeUA7MUxmkZh/p8BWBz0brHPIVrHs85NZ48o8HXuANCT24KA8bIG0YLjbwlNCrIL7KGGPYb+KiWy0I6g43Uy0iXQ0krAEn58f/u98m+u3hddg2Otk3XtYPVdIjgYE/s+hkrhWsucUute+aw4iQUjXrMhKYbNeQerXI1HzmVo8kSxexRQTovw3r1CLn+N34OucCVS0R3YJFY76K3bcmBDWt9R9O3OmCesAjlutlhtIZ+miW0HSfxGi1EjKEhe35T2iI3U0n9jvQs38/NGQDLT6i0f67lu6KrqDxf15UK/okvc3DarV2ITCWo8GQgiRWVsZGF8tXT5QLhKWNG4NJcDR+kJfObRwsn+gtRFdYVunfY4VlaUOnGw2ssGv5iUpyoO5p3QfLnrHkfTy0yYlSEj3xdNWLczqytniiLEztC0IyQEvk+E0cu9ksnPvBNnSiVgUAIAYsJ7Tdk51gbUdAWb828c8IrrdZE2cpx7AxMNuGVIFFzJNbTdAqQeuAZyhCHcrHBET++8089wwO+EH7fN2nGqyEacKmIFAfdudUXP0yqdo+iU2REBAFQWl/SREx/eJVtxGSJp2JRtYE/6teeiIkwoIEDqQnqLPRVsarfznPVabAYXqaLg4V9FT+gZMzA+/y9LtmGNc9vYdCtu7ReD25bBMnp/sULPq7/ds+sK34fNMTUkGfKs/wNqpZIHrbDfrZIdnW9L/0hHApnBPJWnXN02cj2ok9C/W/aGMlZtpSyiT3Vs6i8NCa9w2Qa/khQFBgeDi9izy9eegT8phvDWwuDqpsUIm0DY3WIgZ+2K5GgsrXSoomFqJJLcExGqLon5WkWzKVmVSrUmfOfvta8bu2uCrlP//4PerPAOBVZb7tYR97qkKfKIOA39JL4FHRjQ0gjI4WkqaFG/MYJNjDXazkkqbRA8X/UhX/3Z+K1eilxHGw4pD3JagLlRKJY9QswJ56KMl23Xjq+0hhJ7OpYE4s3VQzfZoedMhseJNvzTTw6QN/D9JcbBVMuCropQcUZOem0vTq+XrVH8KJQKjA3YN7T9IYJHLPYxgkyJigPslvyUaI+Jwt9CFBZElxYWHAEpUUBcZzoz1i03zXIuXZNkOitE1S0edXKejHlE0Z3UKJ6HfGfG8Q7piG1pyULFxwSfA0fwlH18ck2TYywpZ4D6kcOBBOtJgaq4rIsDSSoDN15f78iVK8fE0Lnq0se5ijUqUd6qv/huFjAys7NJiLyAs+IYY9iocL7YAtlGCUFGDnUbdAT45Dw0TRBZPMwkkE39+/XTVbC3Yvfj6EgIRvk06UXtJFoLaYbv33SfCR20xqNOSlwQYTodcPlfF29VAtbsqU8kksLScsU5VwhfbuBIr2K+Oqb/1YnIJNqklwBOa0ETHMiOSe1i4ejOtMNh7CbSMbnnt6dqzNHn/7WlwEP5rAIqo7GiPdHET6NW0Ew56PL+ep9x5wK6WMALh6oydoLkd2BpR2E5A218gbTOyyrm7YSAi1b5CO56kiudocPHRFhYN1UeaHpWPVKvfCqO92LxyLCw0CkpSfEo8WirmeE3zK3bWH0JMKVzHv9HH19sQxXhnJInocByGWBZgqZvpG/mXBA/wvx6yEPj47N9YGP+wVM/XwO7vU9NJv6ozcb8GtEZDW4EemimeNNZsRJb6ui2BBHQV9sZiyzfiZmDJAkJDZNckCK55A8akN84xy7rLAeooemyi5wLaAlvqPX64EbDq0ZMG+wNWlxfFdJPqTXYu/p+Fyxxte7iJKBRs0z12SPnJalzGdg6n7usvJpaIb2r6/suQucUHACOKR3LJUGLzB7CY/20Yp9TMzN6nKlZqgEMcOK/UudBFozeuchubM5OJOLXVboLgPTwA5KjRvLLzeU46RPdHNpiBgbiued+6vi+8VQ43DIB8WK0wSRZuJOvqfUi+EzUcQikdMq66UBI/MswKIVjLyAztM96IOK6Qn9TyrohuTMh6iAfAwn44elruMeKc7LcAKk4J6qbwsRioC/Aa4N3X0xgAa59CZHuAzLiMvg3emuDkqHMjZWIJiFEUMYTMWbxH/3W0ae9mlCd0GWwbbr4zpu7kQh5s26YYLzkHCu0bLEEgBBOzWc2+x/7gInhbPPN3Ndy6737tQIUxOH5cB7fHqvaE2MPfBxKMx+vR5eM4YpfxlIVCvF2xJNuUHMX0MHYsnjCu0++RsFadCrxj8zfRh1rzdWtnvceTVVJ+fzYmlQffaMcrdUkUte/Vlc9jsrw6vKjixaje88T9Y1DQcALI7tAyWdETQQEUtjDz8hUk3QA3jTOl0lfbzaXdq2WtdffnhDm3Hy9jTo2WVYMwNfaPy9KMiMgvnFnfuNdI69kS/EQZDGpThFpagnuMJrJUV5Rdtw57sEUKm9CkqJpZNovrSS3t56MH+NhPUen5P3pjGTBwSCkwBDrx2X6SvxCKOTKErBWp67pERdm2lY9UI3Si5HJ6AclOJ449GaYDLoRzLNcgkIJqnmOogn6bqgyLRL/iYO90Jp5QQdhC+wDjCm0oPuXgfLZmcrMvCwkMqm0d/Pd1S5aQKVJlbJHAaGVaKQ7JBysYnhiHK9jyxY7flIpZ4pCdCKpEzk/yj51asz0c7fZeRCJfpOU9Ig37yOi6cnjWiSEAR5msP07HVEXdi6PmJwHIZVun6O59oqz2XmMuhOq5k3mJ/Yl1z+Va4b9LOhuo7Of6w+lsVCzYCHhVwpSfZmRDl/V+8VWcG8CSb/c6+PPpccHD2ZViamg+GTeLeP54gVxper4UdMcaRhnItp0JUWNjnAPxrh/NFha4t6B1Y3xr+DLuNx7pCt3/Jv4sTVH3XrzRXaw54tqSTKPd70p5IR71n/gBA0ICeAU7N1V26T7rDrgED6RZJsPn6yTtazlGlHO01M2s6/nH8XCz+b29w0quZkQJUw1LHvb1qEWze+VeeZaRg6PmZmJGTO0Qfn9XttIcHARXqySUpHyi1q7+u6L+/4dIaQnYuX9BEMXYFg9Mk9Y0zmjK4RylpdXJRBt5W3lvhuCUNmDlqeilVpYHU9RaOUeaR4EQAx7GwlDwGrYQxsZTuWaoO8QNlY6TKw+kbgm/eonEZMMhhcmXK39WpgfkiyLfw8yONIC9ldOxaekrF/ld9B072Jh+tNi7q0aiUDOY8aKGU37L+QXC9RQDLx7xl355WMD0F+WG6jdKtgBhjulWVayVou5v55FdgErQxqYRdtXegx9qqMM9clwgjwEmZK+zw6c4g7DabyKCsacjLALS8pHGtgY026vyB6w1eMVTcmzNvVL/1y7xr9dCGtgVS3htAfrZvFoZK33oljweCFW0i/p3LvueyOoJsEAAq8JyxK4kJtLmhoW2NiJe4S0MQFgWR6+cG4QzMw0uGjTRRtB7+lOFDRcDld+GtXkn5qy0YOpwTMJ3WdCtDolhhJ2ilwGIx0bHRojqXTGMLpn6dHQxcWOw9OW9y7EN8zrhGns91JLpPZL7sLj+jukkm8MVWaMXTtFM9BT70eK/CuKLhi5T5UCEKa+CB15gha/lIYgJXWI/5hyotYsEsACiFc9bh6OyDhXksXcYGXHFSNaIYHR26CRwiERVFrTGW3EYyuWeMWWB8xV09iBNmA/qvMw9Fx3fnnxWRpFsMidZ8GFPab5YbrNM/UKIFttdcA9XFon8N1FKUUsuWaxUnvYiQSCZZVl/KsPObXAgvjgMCvgSRend6/QTjxaOa6YcYN5GeHg3KVxaxMA5nj+Khj4BKFNbv7YovS23uAGfbkeGONjsu5GJLoBreDd8nmFdYxrrmIYemX2mZSaTB8kedJphLXZ5BTCIdEnn6V7xFj/9318YX3OsNnJz/EEe66JgikvO7CLfS2+dhPY6bhxbiLzlXHtq4NeoyVL/yU5uIawoOzPDfDR0C2zAX+6pY8GIC5c5LADxxFLGVPlQm/Uam0HTyDehyKAGqzagLds5t4zoPJm1U0wMa9uqfvbW31GCO/kER4jcmJnOBMzB3zTaJegGDh/ywO+N6fR0wIprqZ91y2oT735pevnlo+xitHlII0C7g2/MapF5KceyA3rFgwpeyvhs33Lm5DcDXvcdctpLywtcJUHsgUXMmJEK2OPq9qQT2+1StEln9k2bLZDG/XEwqm4Et6YpcGa+VL8nJSuixVOYsB7sdfgR5V/INytN0IQMy16RkHIfcJSCKhNI2u3G0HNq+Vt3U77dpob9fZVMW8qGo43fOdJqex3Frr8g7/v23uQgT+9KNye8OGKanxDsZgv9AO0zp+tBM/4QPbV3OWyLAn5oG9ZJnKbjXHCm7NGTh7eq5eDINjeiYzjb/4gEEZTKE2KhddgmmZAQdgUjz+IqptkLBcLs5bgHZQL6+pyDNFDnLc12h6B3qH1vbLvWE08FvOko9nDkzklv8ItUjAJ+ssCYNMmwitWCcGUDH4rfLuFitF+KkH1FCRN67ebSLsHV5/baRXd+x9BBIlQVzw5aa9vzpG7RqHqSluoXa92wHKyE1AuNhtZ1Hgi8tcJJrfGjsmdNsrvA8om2odkTlK2SNDpk3udatQhPq9ShAmEJ3kCm8uS/vE1oYcsgRoDKDDNiZbLjBPrGB20Q1zJS1LQyGHTCK26+10Pdh4OlEvh9J2vP3gAKI1KEP41uieBMD3+Cb9TA10nhOy041ULMG1QrGhIi4KfUAs5oHleJWvkqBOPNoArUFnMWvfvJ1ui0ikx2abDR6/8XIqXVVc0BpSFqA4F/B16a32DVMXp+vSbHafaLYHpXI5r1EfC4jKd9tGim6CwqVSTQ+uV9vYoh10/7mnmspe3kTF7jmGw7419R3clCeSnvGBWKjJJPkI60o2eC20RZ/gfaL9XNn28aeMaUW5Gw0U5ANA988jktwp2nXV43thsm4jbY04ghBw5MVyrhl/isayZhe0jKJojbAgC69oegihb8tBe9P1z0hKKUmYvnrrusveJDyOfqx8J+RDIAQjFz4afKfwsGAVoJJm7wiQtwbuHSpZO3PPINZyybYqt9fgAnTcVeQ5JMHiDpBBnfDzORrJpGWRcouAZpoOUsaABa+H7PcfAY01PQ6iiesrzbFc7rIe7DufIpF4ofZCYMePtxv+r2po3FDkhI8DEOdqAHTwfpNyokW6njIGcElIXWULv9aBMH0iNHQ1jThn15WRQnqcOvpTIAEFtZLy4TfBsX8bZqKDFGzAwb+Ej+BAdyS37JxgONeGnJedGQTnPDk3RSqPf6WG7W3ZGtY9uRMySsK1pROn7dyvTwiJWwlkWhDb/pePHFbxDux3k5JgKB5P2lxXiZsw3X5E7NyFqaot7AdJXqz81BeyrW9T4zstsf/U9not99Ne/NhzFVS9N4dYqf86ojnU08/+BTpXM7wPeOwRItVUxpKkd1BOgxYjCTcoMbSDPdJuTG5cPfpOzSatdQlmwObHh1pYnWQoQOQOek4VBEMhEHPTnxn1qXJ73+FC5JdeVFDOs6VW267WQPClahVcoAnIlsoU7b0aThHRWsP3v0iH7oaQIhYkKJkXGSRBRXaXPE5aMg3N48opJTfCaY9d6IBOvXzBKkYLQed5Nmp3eCYF5P9R5eUZRqPFE+Fnj0PTo/8nPwZoJr9vMBDnqKZRCGPKQoCyVsNEWF2Tl0jJcpkDjICKKMLvHZ/3w3A3xf8is4ljXRgVsipdp4BuqzSIcvvk7+auocRYu8znPHu418Kp1HYKIdPSwCg7UqmPfZEfUtyGAH+RNsI8wJTPPoeW5K5nGFp9o/nUFGxHIiUgmdQjo1eZyQaKy1hbokh/VzKaDZHiAk5LAHZ6Uu76QmMAQSqWWuyYbS7Kl5+LcCt/qLGw34NG/gWw04Xxst5Y8GKtXdv+h57Tgw9A8VdT75cUbFpcfLyA7BzEY/gPn/ptDjsDOG1AubuFIxlKZz+e3AcQ9uqzrOvoRB1lmMlIQ55HbMwcsxPahjdYfN6Sm4ks2d2htZAwsP6UAVoqcz3vgbXsvfglYdL3D5DF9K6otiT9GUk8m0hUkoK0vxnPCdrP2rNFg67a4w/quOTNmf2Xg/AyPRflvNTBSPxATc8WOmH1b5thKz02AJyxowj+iSCaUWUvMHOo9/Ai1PbbyzbO+j8ii4nLa/foEv5PI65b5j3m7rkwOzyFysvs1I2qmFz0ynrXhxoqtOorZJIysaukjWtIBqe+2O+7VW0TOhJtPHZgVw0iCjxEb+op0PLXzS/WLXffH5T6jrFoz/Eh4XW62n/byP04oBHcLvAnG2JrDUqxMAXX69s9B/w1JeYvcS2I11pmUTWo9ePEUy/yL8dCwtuKS9f74mPj7v94Iijz0PBGvfCRG9roFpbVdmu9MA79gDjKkAudFWz5BGWpUMr06fx94Fv7Fbym2OtSLjkK6G1QUD6Nryi0a294aDrMZV0AkS5jXn1np5kcLL9nxA0GxFKYIjVaIjXthKB+o7LSDZUMCMqxOVX1vGZbdJ5LMqlMMU89Oq8ckvEikiP+noFK6dgYgHX4Ck6MZjV7OQ41PjGdtuklB6GdQrn6iH1Lsf9lVx3Bjf0mKO8V9CKdwL0L3l5STNWY2hq3efS/xUuK4Mi3oluS+SyDdvZ4FPA3B6cHwK5Ov81NPMunJB+TnWL6mc6ST/xCxM483Wb9X1ntg34EkeSUia1JzhMD+9sjNRSMBzB3GLvViwOL00baJVXgc5jqC8/mfeSp0YldkrwFIj/YUk3E1onm1isHHx6HCXjNz1p7bUuhb9Gp3yG/3D9/al+FPyG4nEZcLtD4PdGjtDmhPKz1+HbuWh1LXV7yhor8ilyaH1EKj2FNmYFZ8i9aUAib0F3djPWbMIwLDZQtkEgUndN+leT4mvH3LKMFHOWNG+zYS6DXdXspIgtQb2oVAzF5VnFb/c38I5IYvqwjGKyOWSVfrxY9Xr/V3iBiT0XRMcZaQ08wvfkEvtAgzzzjOOqHxYFfcmVuw94K0F7fSzPRAxwtpWiEIHbRLAYmoZYHu69IDtFp86bNPa6rg2YIMD3OYrNwpiTcnfAC5THyijoQ43wj/diku1LTNFjaypSrbdNtBJ6w+9Hys8DFjFgMtCtFxgLCaDTKPAfaHJFPIbDbYgmmOk5+6DA5NZQJj7KjRpstAnOLiXtLLf+ftlNONQFASaXFHyFo1aWUT7QNZFovcCjCXh4BKhYAFfj4FhmJ7E1Lyy13pZ2IlxIrpojl1j10RIC4uSXORup/3IA74eX4ya5eeKHcc4DQQVAlXsq7pDrachPR9oVsrmciuL9upQ2PywE5U4dOLVSvS7vjz52Z62meWywTrJAxGe13IT1Y9BuE7XYFdS88BBFSJfktM0DGuo/AKYnbGEQaI1pD/f0VzILISpfPlJ5JlGPFORM9BO2JkbRLF7mdGGag9GeCPdCrsehdnKKGXg/nsqy+D53Q0QLSoj3fxleRL4e1zk9Xel8WDvmRGiIpu61RsMRG0BcyFdow3So6Yn1LIgMoxGoK9gNySSJQ3r2lSuoymfr3eUsZ3EfLdPsl/SHmizB0tqtBXh5Oj5AsjXV/Tu7dfIoT4tMoVEChwJYP1rXopsMB+ghUgWox3dtZ0fqO7yMFvYAEH4RXV5RENZPXP3TttnOYX4qCgYlmiakr0L6+zaGukF3XSKYW6H5rITO1Z5fH36ClUaP1LvsEf2cSToQTU4PLYmnUleFQfJ1ZjbZCEFpO+r8vtJAVNUZjvcZYqSWye54qirEFB1AsJEWe3aJrDex985bUD3D9bbiL9EjjE3E8XhAQLs6k1bRmDDizIAxftH+aRAosmFjQFDx9wcUmu45JfQaypmGq48SubhLMB6ODQQeMfOWma3TgqINgLup2HZaKribjKGPacgvIjU7PZm7mCdcuPS8uwuyVNR7IEGltMQLd1jvBKrQFp/TU/cusxt8xesIipc++eY3MNlohEH4ZFxARSfchvAy7MhUuGAWApVRZX2hTeJKvzZuojAQ+k81GB6q4EtqA9+gpBVkCArvjw5jBOIBztWnxVpneu2ttkaFYIbq4xlvojLneHeRHcjQm1OCBv1MrcKP3fUCXFQuPR3cdEOgrPHQpVw4YY3yITl4cUArYN6J7WqynUGoTugkHLs7UxPkaGyOTDHDU22TLvnIbZimpmN2IfX02agcfyykEweR5wKGDouBGtQbG3onOyqKzUfbjfilJy0DtZ5DhZOotEIwWeyzkO1qR7FoADz5209kOLROBSaCLi8RYOXvU5mWL/SyWjaqfJKFw4+IUflfTgIAK802wyVBVK2tAz4pGpqm0/cIKRBpbulAwOf7hGa7x21TSe5NXiQOTEt5xQ5g64ieJqTOt7AzhMsnarTwm+khS0AqWI7ZGehb0PWa43JMU8JinNnc4boY8AsWiY3PBEDtzyc7vBlIMC1e5B9ix4xKb+ucL0rYTSnTEzxXem7Ga1NLK6GQp7M6ff4e4Ngmj7ZSPlYWjw0Np3zcgfk0Bze9pmEAlu0RZqWc/KbiuchJXXAVHBs/IVKIsULLedOy/+p151Shna53pASKn4HnWW9lHbIk41sMFrNslwLiGiFGN2E9lrG/19VWhx7Q3X+DtikIb42DKeF/pcYEtnVNz8+70XPWp+2Kth2ts6IoupqvWmHNR3u5sWWNNXHVTbpeaGa83yO6ARX/3DojeDE1RzC8tLY9o8Sno2gGPvbovxdquGj4VfXaRgp9xv7Rl4gnrm8E1Y2DHo6nHaBpOsuP9cD8jXitmThV8WU8BYoqgrv3bXjtwfbjf/SK7QVG/sTWGJIyPEZrhmr8t0QakfQXfsSQdCLPgCPT5hYjySuhGZabBULtnBxKe0abNSgp9eWnIddzTlCJBCybQf+MlsOO8P2b2T9qBcetM6mqwBeWGGqdhIO40OBXD04CrwKszNVwIy6NAmJGDlI9kTZKtR3SKOnQWAz9xSfV7Jz6mniXmdA6J6x3mZ4EI6sQ9o+M/Nk0r3jAyzX2nJsXEEZf2yfCN0oZSbzU+JlQYodYGbhKF7UbmffVTXc8jv9UHR2LeDM7hTKGv0avr4CvL4mdzcp5t2YEDq3pN9YUVl8oOt9doqjH/yAqCQBTHQKH4+BLmOTNirn0Qc37fTaURLUBL2IuPvQdqvlawky/JbcxnXx77EA95pelNesxp71STcgzfNc8NUzC/M9duSS6VxOeZ6mx8aGTBQVOdo6KG8xYoVfXiKHsFCqxJ9fZz0+PWGIiWAP7a6F85R+FuyRqjemrrOzGCIN4RkpCcLxvYAeO/finmwwQ/TtbZF13XtRQ/YxoJI+qVnt4hvDkfL96LPT6+kIaPoPigvmzcWTse4ahKWbyyXfLrzRKfZNPzpG041LJ9XAV+cTgWuMcPxCMm6+WoMq2V/Y36ATHKk/KOPfBdQi9a5vqs3eR+WMdce8wif7vNvvGFtfUxzwLScvMYps1b1rE//rzlC1I2f9NQanJ+7csa653RSfqJ09UN/lA8blVMieA0ylHZPgn20DDoovUyvXybnjridJKCGWMk5dh5DYSzT4c76EykcUeB5Opq4PG2wv2R6cf78EIvbN4EZAmejjYWbY49oaij7//0AX6K5+0FopuRG20H+LZiKDmy6Mf8p2Oo6/nxSno7uJ1NkutrxhFggq9ATerdm4OnHHJW0FJ2knLkszeSmU6Wav1lNCBUcWpa08qTcNmhdvwo/wV0+u2rdVDS/8lRnZdoYkGz1o6N6hwR1HcW+ETSnWI17G165jseoth/IcGKYi8exQU/HroiXK1gu5KXdEu5OrAfTch+ZcmCifjyDWoesx8xHcSdvf8V5tMtxwjHnXlWOALXTg2GJsD7rv+3GGqmgx0QlSqlDTsNFl/jcY2l5J0xfradeHwlmU68CylBgXBtKVQeg+ZXNrLpOSf8OseQz9c/j8Ci/odUZd84wWYR4z3ZNl9zUtJzi9uxWWgc7IaiQAZukZoMk6CgsRmJL8DImSupV9gltFKGqqRVvpWXB+RTJUH/j8OypAFyyPssT7JS4rGS5ROGHTI7lQnl9CXi7KhE+I4a6JBC/i3akaM4YRSri8ykgMkC20fovBMI7d+z0yOaTlTDFz8pjC6iJ4tCG88+VP2myYLUtMgla5gTiDUTo1sFPhUAQDkWR89x8zIJMVinNRMvq8I251YTSxJCM9rQBeCUvlZ6+RoinUGcXH3ORLJWGQJnvwtHII2Qffu2Xv81uM71YVe2mRt8G61qvyzvOGilF0C+2l224QxLRAO8Q84wL+lG639dEwqgBR71vhcYnEw6apa/zSp/aBfSeVow9F+uBbGXrhjOdpL9o1uV6x0Lu9x6JQgPbNbxxPRAY4qFbd22kNz5Ss9fChRhesaQ7Glhkm/vZiLONVj0/YhfYANw0h2Dtqgq+dntIAOLOLRBDQXFpEXPBGpFbg9Wo7uaXHPqLJy5fsGyRWTe+f43hfAfbQdXhbIWdJIz5aTYWrAXHRv8ktHnC64D3jad1aaMRg5B9Q4Dsqj8hBOFdMfle4wnM739U1Q9I8292kdpgkRZ8I5dFtjD4UrRu0B8LguCFlI5zWvc/rugvaUCyNlGygjQinLmO2cl8N7ZWbOrXmAV1Z7CBsM5Rw7o0akUVopwJukVmBc2n3O4vjMNu7CLyGIk9SfLd2YgAaWtVpG13Co0bMyOL14oe0OLIpuLdUNCdNRvmi/BHQglyoCbgJnGBD6bO7XWy6yI0GZ2zH15mS33WBuEV1B7yrVY7pu+V1COMqo8Xq5V2EufcEz2Q442WYQz/1b5JrE+Ztd72P0+9EnnmNzEoFj60ozMGlRqdrzjDaxkxE5nx7qElV4Q5jqxcknaRi5LWwu2D6vXtszqQxED2+n4xptwN2F9mqHXKArXt7txkoXKfmNHjc7CCrwdiH068nTRgG3iYfRzabTNqbeZxgJZxjSLs67I9rBUphuEjX+4p4gI1v/pFKwi+hmn/yWY5XkMSxJOGo9zwaeZA4WZRyv1oQtrYCbp8ayXS5UoCSZtdYGr7e1rZOy8Ejvqv9fNFqMEIvYp04uQd+cNDPTZeQLiQM2GDzPC9pCEuakm4y00bZj1Uc+LaP+6YqGPqzYufW/NXmcxBy75915PvDrRJAzwkhe5pstsJdGd1PUMhaKoOoSMefkSawzLOaXxwnyCsbHqNpDx63AQWMmJ/EVTVgVzjGrebBRhQ6HpPiTCcu5Bv//B517nA6F1IYRWqxwk2f/c2Xw9dMNLafWHkx87R1kT25ChEPPylAkwzz6yp2QIAjZIgWO9oKNiHOq19Y+rA6s00b/RTU6BQtHtPob3VG9eUW+kxGYcEfbdM9EwEIw8BWg28npr8gZiNmwDjUTE31eQC5QG3Q+iLyE5zNQo2HrTeg3fyH1gzzw1vBrdbNI5rKEVSRoi62JRXu2OIz1tTNCrnp9Zd7zOIyVOYJgZKb6AR+W4Qi1lcIx1eapFSy6+BfAEtlRQW1mNchu8TTHp1Hi/iGahyJk3/4tQco2f3ro3vJWLyuj3Y3lOwlQ1qZ/Hq2oZduMR7o6lUd1DG3OQRKGFOiJ1hycWGe69D71WATydb7pmHFqiW3MhuE3497PP79LFvw33aWR+sE9P3EW6IqkFn9gSNnzz+ZUbyC4sB/omqKSMZ26qFTTJ6e0EH7LGmOC5ttnpVHvHndOYtOjkLbQ8YdqWC0UyG3v9djZIDJLWjGCsjtiKIUBkGliPqpBjtif4GFKqSUzgvH0r/PmTiIujG1etr94X57mjcoNztDbs+7gE0nW8OHcfDsDMGaQkWxUlOnC7qzcOmXIVAbgg+CTlUEituLIHuS5r83pM3Wb1BsL5mGX+QF6GeLUt9VAkbDRKFEp9QlmQtHsI3BCYFn/+403ySSloeEJn9lZtAQqwYPIV2r+EPqV5DzHsOhi896mmu47tqoLGhnlgAZVyAf5W33KyMZwIzIEjk2f/ZSLduYSzn48Cd3UrUvQtQkX6CnHqvoBYtf45oMURa627ptm+VG0nbWyVYq8+vyc6czVeU785qj9ebIGFp21O/k044rvD1eXcDAd28Y6ImtQ/aFnHNtilYMREgsAoWXyKWOkgnfSkbCOzTwax3yqylymKgLejm5nOmqTa6wVMqfZDWf/j/mgDPXAOnaYafsSOP/HQWYQip1+/vs3M9ihgp1TeL8wPaR6BrPaKBiIJeXSbcxuswMRLIO7bQRRMRTDIGqVQrt59JVYEfhL2xc1A7My7yB+oHgipcxIyjk70qOLt3v+AoHGOo3Oec0ZurWBVfqT1c6HYamWTuiNKiYhRyACdwYs6s7yuFsDG0GS21agcH8GWthWiSL/0pd/SJPVBUcgZVKRIMa7D6Q5BR9ydKahG3w8LWI1iHVvrsBjxqs7AE1Lx308VYu3hds2mLraVNujbC8n4mWqY9m0OrjdJeO/UeY+WgyqwtiY5nvodHGPFodCcugo4E3OUxqdHN5vUlF589N497QYwyhPM29KQ1hndjVKsJJ4JOlS2jj2uZGow8hFqVj4A0qvD61NiMXG47eiwq3ssHp+9llkwv7VHThLiWigfDJfs7IBmN4YU8epZq7aIzJYOOuipyvETUGbnrJoISJ/XJM080IRI99ExNNj8yJGczWK1Vk3BiYp/PsjCmc1E+3piGN/H6KLDniX2DruaAHvfkh/laSraMP7h0tSxtp8OyZRTefW5AN9BgbeucDMHAjn288CgltdFK00nN1DDA8RDG9SR+5oggJsiDeWmarwWNBn0kjtsdpQKY5syc4qlZhV6jCZLqe4woBV1610ehWolQV1+RDIvo3+MFTdX7DWH/9ZKL8Rh2a16/NB4dJB99Kq3f/mS2bd7MRCRPqY631J2sCzxDB/gcpTwlZTrpObXCnKt1Upnew993Upb88HKfvqxLlcQhT8goffD8z768GHQqB3Tsr2xmxsqOrrepZUICXCXz3+nDqWDhJ+RZuGMYflrWpTTUGGpNDmVu7YG4OZLXXBza575YXGwOyjO8TxxDcR5BGo6a7wC539h9Boy1SQifgMsyxaQbsZ56sRxrq526J1b6r/A5t0k8pSYITRQV2rJ0ICYHc9gAch2ZYycPLvD8sClNV71E8HVE2Q+sue1RQ6+U2zHAfXMLD1YCdALMJ0MrcE7OvVVOKfMN57ouEyb41aIdtxyfUxI/Gxz8SFLfTKykvGuiy4zlQviqIX8clCkdxlxRiZwwL3C2u4lmJWBy/ziym8TL0cO7kUdCSuvUVB90ZXZLmJf2n6CqZkMQCIe9A/6zwUYetLXTA+Q9uesFWKE5oL+ObHXQ6e7IZ2yxqJlhRuXeJBTY0RTckw/67xTlVDeD/lp5NSRJ8qRl1BoTesvSWMqrTtK38rpBF36KNT7poVtX0hV4VmQrfHW3tF2auV3tCNFKDnGYPDNgC+ZxCigBJ1YBTBZXzCx/CQDAhOZRzUxrtCDueSAS7e5E+7EbMNpYivHSprAgRilhp5I3slQ8dZMryxUAIiIww5Og2ZLbab6xqbV39GbF+jx2AqiA2VJj5gxQhYz0jik667i/YPMkPWXmVlpmG1+3Pie4EY7GYtdxXOubZbmyMtfVRq+pLPyk0vxqELlyXYt8gyE6FpO0mlvBnrP1WPYr7yQgUuLzsbYj9RJ+7Xk1hcvG9afqxKLNAOnJNglgJuJa2R5SN36tXtHMzncgPVfscQ1zJmCm1JnF2IYZwZiq3tlSl/cYjiXh9S+5Bjz8fYP87xOtnBYNkz7wOqRo+l/nMFmbxRnlbcJNxT6YnsTEBg3auRUS0RMCoNYs59Z2F++WziQ0kbF1sUasbr9peMKsAv84lhvLD2cHtm/yejnthnb5NH4GX1dePzKfphA1Ppmd6dClQ98LVmPT/VMBp99kjCkxA7wUnuqEUglTq3g4ktdaYe4Q1Esa8MVZPXOqPP7rhugRL5NHcMX7rON6PLMUq36xqZ0gJsqOc7HMHueUA+IYJjXz5TSPKOv66EHk5Da4KzZ0j9x0Ueygk4S68wil7xY6MPinEVgNlqQFiTtguwJ0cWC8ad0gCBQowWyxr/sjD/bHrDkCpyRr0zApY9949hfo3+jbruUXZEP1a5ltIYkP8yCa/lnjHQcw399pYQQ6vVG0RgA2j5TyWcg5lx/PN+mVb0om7jyA/P34d5glA+McACPJ8UHpKo+FQArGGt1+ujM9umbs0eV5Hg6NaHQ3QHeT0bQnY2OKGHFYgYtOBxZ3DNuC5YpO/hYO0c9MOcOs+TU04q/5ZuPgJ0lKd/YHXJr+22+FI6ZSae9uL11qaZygOpcac5zbLUbW1dmPfmq1jxYY7YyndYmOFWKo2UH5qYTVPjFJ7OW1txHiDU6CvnE/vFVDNTXpRaVUWHqS1Mn6Iu42LHRdzzFA1hm6yd4WZE1KkhRn9LzU8475TS4WtA2NClVfj0huC/Fpc8BKCL1djaFRlr5cvYmCwy/Wq8yykL2Uf3Eb5VrE10ljVqYNEcQ4R8NzGv+RHlwSUNX4OlVC1bw6m13B04AJNEuzZ+/IQWKQsuvYU5bj647s0rwZdGaKd7gHpZc1axBVl7AXfOmfV6JHuVLmfqwKVV5prbVjw6uDuoOh0XEujbhm7xW4/pubxBAgRf9qYZj0cGaGEk+G7pPWYw2VZYlpqlfFKKZraKQh6iBRV4z+435FEhiVNZdK47ZVVEuxIrCcNqagb3zfw72Vt5uhgpsQymslyA9xGmB0SruZ0+HcnmiXCKrTOP74AzMOv5z/mWPlTgWVTDPKP7kGpwwfZ6GaPqKkGunIRKvC0ltfnN8JEQUyC2CknI4GLSX6oiA5ujmkZhBaEYWvttLx0xz8YhoeHmVDfOXlzyUWf8zQMNk1fPefSbK9+SQ00AjRZVomRyLW8PXTb5s7RSQp1KbC3WbZ/DBWx2yPfkUjPl2v/gtNCdXxdMnbxfqEq2b9YYpiifsN52g1zki+ji578qwdrJHCJYDS20MMERtfHKkiD4lH8Gj473epJDmAB67ddebKW7d+Eu+NMnCH+tIZZy+C9xT/L9q0Co5IHQ1u9UuNz79iG1D/oQbyyTeuzRfi8k6THZh4tTiw0mwF4MIGRX2DH1QDl9Twgj34Y4OYm8H/5PXTMWxfKCjzKr0eVcs3IQPUs4FhSzCbSCOcciqSjM/Je4Z+JV8/naMbjuUrd9QsZyExx8x3CHGvWkfheTEiTOGme0MhEFbBop4B5PT4vIN/oLmKwi4uSXxs+D1GJWX06HqhrROh1fqsXZ11DWSlBqrTVTnoTLR8YIVczBAGIj0HJwH6LT5smlj/gphNR/+9aG44c0x6vTNrWSfeepO6XK45QDx1lNGxFTC9mcQxeiB2xcvgkU7sC7TrZh+r3c8VA9TNW+DC3u5bKjLTXUD7lOqHwidpYEaAd6TyjR4owAIUaJF8w3meOn/itBTc5WlYx8Bxg95QRxwa9kcL7QW7vRcpCcVN6/Zi/v7lfF2nI47D9XcJsBiiAevSr8zCZlxgc5CsA/I5UHz6nIWiL6wbhwngNnQTuWWb/bWfrG3xAnj+4R9IP9/m6CQwLqkx56MQmeAeUa4RPu9E+eqndZsgAdVUGX7wriZ11t76T6PIdTvB/mpYZFdEUoYqq4C3e5pm69si6dZPfbpRLR0O3lAkSICQjTEp/MTrrMACzxwUfh36+6kN9lVMjnmRFs+GOvctrZfQvsSHvT8SbaxwSPP1a1VZHBh+i1klof0Jh2ODz80pyOtk0MPep/yRoezO/qKg70Iy89K85SzU6XrChC4wblxhU0fsjXckJcDqUL0AcVCWpaoyEdeegRdKsYj6nhINSbOTTZLlxov9r8+cXrjTKNtb0dTs1hTc0b9eQP5npUhntNEIeMW29qkPu8Kt7wlcsH1I7Lb6K+lkfFKHa3+MxWwsXboUMiH9uhrP3iObUtwhLgTR/ocQiUpkuRijgE0uAgber+RilNMIaUhvPpt4HcHt4lOV45bDQfs+TwJDuq9WSX2XnqPQp5o0rC6DLo/IrehXuWADb32lv8vcqui3Zom+WHWdMGZQKCuhyrwywt/bkTU3GT5tSFhkmrIO6lbledP8cLePgkrgOx4a+R+XzjpgGHTIcGsB/oQMHqnvtgaJhgfUrg4VvGfPfxUsCzefHQOKUWlNqfWJLFETQwoHfXNbuID2Is190FXwmkh/771NNCDC1w83umYdi5b6L4EU9S76hCTyFkToRRYESw4wlBRLdIyZXvryd3zMbinMFfVy1ihI55YTZsEXoQhlWWaTXlp6LvXm0j6OZ5v0mGVGu/TxVqMjWkqzjwLgH1t9dbj6E9YXziAYeIaHU0MJu2iih33kGrUWb5rqQca+nKwaGLl/M6ODubZFwLm8WeehIHX0TOxajwyhiWN1xv44D0Y4V7bhFz6hUeTiPkLXXUmBRkkLu3PzF0rOp2zm+pLyhTRtJCCf7OSIWPqOkeU2YyzzMTfgmsTgzq8qMxafFS0x8G0VI0vST1oMqWdz2FdAG3igzc25b+KEQJSK3+XWTSkn6LYpzELaR/2m8/kY0yTZNmaCXWjV+xOK+5saN24A+M6ncAqpjy1321lXgyKPObuV16aS+VePnlvNAfTwXJ7CGz9swe01UNazxKoo5DIOo/Xd5EroX1Anand1g209rHjzpF2vGJcUsnQdIW4MjPqBaRdqRAVYH8dLF8WusoEXLUZbQMBfQRX8nWckDQUUGKgQ4BqHDJJvyiSfz2tnpcyqJaGAHeE51bD03Ew92hqP0f5ZrNZq4qpOe4zX4fMbUkZIO10k8Ak5VQDZCQqC+EN+GKhTlfR0UCb2Z2jlsst5k6WKcsWOdcsFQUjlhwVpjUHkApW93IMnPu3i8DBn6hnARev+MVZrySf6xbI9bD48p+ZkrT6msliBZHu6PDP9PqqT8tUxG8udn3LeuUvwCzq5d0EKTRaXPxgr+E8czOBEdNvHDtB0KUEXf6yJ6gA/6Fh0cUbRRSpPZ5q7eDUGT5XofyIddsRMHv0merwEGUoSPPWAvOvfi5285q5gS5JmqTYlWTIJXYgTveSJaZiQagTM1RMqMK7+NMIwWhH1nBJShZg90q5t0z6yAcWTh6CCCgRsCuAI23uJQ9alR2U0XMxie9cZMvnlN0LemHfR01YCnEhTt41X24mU/frOtGsA4bcIyHzrzuxo3Yp6XCJk/0dymD6rgQfS3tVhr/8NgeeWp2iY+XAB2Sfd4CTQ4h6luDlXM50GB+TWG39YoVaACvjKeGlSIISSPzRGBO3VbOQZDSBYJDXIqaV5OqgdcDUTLPE01g+KvxNotTc5dHtGaGKeAyimeYGTPhoZh1Lr39HcJy8RjkdvA/4UmNWhLHufRZuHutBljIcxwUpwOdGTuQwBN+edh8TUEhR5jLFD90Rnr+oanXGlVl9m03fSqiqKa8euLiwLuWOvhaOkwxK2aQGNEH35ANJmp0qnddvOkhAXPnQ77KOlhW41tcRs+L7yC3CkWRSi9dmudHPUtKKFSsci2f0+uTTofzydw+UTGWFPt8eQfZ8a19LRSZubtlkVSEo+7Z7JBC2iN1i2ZIfSPqlY5NaYaPAglu+7l7+npYC8Q4EVjRAgAtlSu/B+6fYjiqIbixbMM6UV8300fQSBTm5vLxI06We3rejMOpqNompEcwWh8B0NYNJlhOQGEtSC9gaK9l7s73Zr3H5S/lpU6iUyFJiu+GQtreWlXBv6yzaDtbei53w9U7/dOmUJumQ6bwBY1GJ5JAe22UgpJE1wak2ewV0SrJa+YqQBzWjeEVORNjPm/u/v7ZIEIPhbCCG9vKamhlq3P0rCUU0GmifWl9x/0M7IOd3aeEROe+qROmiwBMlFNtl0VPO+CXAEj14MnDMksYKd6eisczrIBKbRyse0DSZElpzosvcEo25gwcHhCjrlFRe2D5rilIK5PE/D/g1Ds9W7VbBNkAUE6ZgoVE0KBxMKdNg9Yd2GUEvAMPphxkFtpWbPoC9+ExKkUcQR15QVnxlD9+orFoc11+xnQSUeI/IW9ECcN/vkuSd0gP7BVb/AB7/EF8wcLfRMResyuAnztXjYS3CkjD/zuXlfvGvvpSyHrXQNy9yPNkwy/hObdBh+6dHj15ZWpxW1Nd9Pi6fUDYu4TxrDDuWUS61KE31UOCRocRGpDSAaOKX/FM7Kn0KnjDqnj8dhLohvFYqIaQ/uAcfbfgwglhxYTHRFFdAQ6hAinKezMxv76IbUYEhIURW7OupzGi2dT7QLFejkKxehRMdA53PVTBMTj4Ow9N3jdCU8YgoNNE0q6FFIeM/eNKBVJ24tlRRG6FXbkbh4F8a5H/3Jevx0BmcCnDMXoEwAcfnjLVRQXgd52DPi+87pMNakRKioZ/Kl8byRK7E7VSaW9afTOv36Jy0D18zb6sL/Ztg/AIejdjoz+x5t9svXW0pU04j6L7fWqW3Hj/1bRYskdMCK3X6nGBia6XYA05+RBwu30bqjDgI/4xGROCVQknNkjSuP/jl0zJFkJa0b5/W7IHqcHzleW4B6G6nwZQN2fubY2qreEC9LKumeiMXUr61OgshqixLLu6z5Kt6+tQmSo1y3XBf5AcLpQKGMTuYvIA7Btmr7dPSqTRsGMhaxwbHM4+4APaCj2A8kF8C3s4vW1fdAVikMP0mGxDkqhJupjJdSbY1NbFBB7NW2gQTdhaA2eNQftYl5VXP9/+rkUrHwpuLy7JeKaeatLVbd/9md4U3OCrV36MeTHAjxcvAR3P3XjFtG7ThmvUG3JYTzxaP+1qZufXrBpdZ4tY8VTjrLoxdh0+tEHa89oX7dpIEUyPCuqv5i2/aeyg6FGdNWpk+Ilx9yqd72V23Gs647Wq7DmGYhOFWk+s2YEgqiLop37AZem60paw76AJ58vChkJTwozXFVQYuWfH8w5c+55384ho5nb4IzcmyoYrGiVh09yldWhOLDcyAdVuwMN6TT787Fh/iaDeKpaC0xcFMFBE2lbNtD7/7MbPA29HOEOi+JG095kszjDB8jTRxXzYG+kqht4BQHmyVpplp9OubHn16xEpd4qnCi/D5UAQ8rjAMvMU2gx2YyckTSSwcK0Yr/P8NMKD8F3QtMvV83lnNYeun74TCi/wEGiMovxIo0b3jdxmI1vB6ovsVEqMC/pm88qRQb/W+Dm0y9JpqdhsOPOjn8yPfq5MmG4Qlm3hMiezFz8UcbLZRHsoov3Obtk0VcQkMeP+8jeURUjMriRLXQ5jKQMwfIPxIFbF9dI+nlsAQxMdLkBK2BQSofP+fEXacFQqRwQo5BRWy98UxE6liSclGvkbHU4hEFVMtAegjuPPZKYQOdoXJXhU84Gb4UffBHWo/4PuGQzJAGjQl/QrsleKbtEsZD79URS2IojloVFqB5diXchLGts8z01/fR/+LMuySujBiTMgTC63Fe0ATzHezp+wPstG3w2XnXNnlQ57boRpXGLZnLtLpBs+egc6w49a/48jhTdos2Y+S+QhFmU1vHZ9kLyPW13FLi/jVxWFEASE/KLS+4FfkAEK2jQbeUXQR3mR5wFLaa3dlB7/Vop7zJ9Czr3uphBexjhkTf17pAjLFpqiPg5KuzMiCDN7Ev651nVivHemS1vYJEdgly3UewcHrdC4VYpNckGF3RBIOTt6lY6BNOZg5DIu8IuE6lI3AOQEkvQtkowTW28NP3OnbKpSGJd3YkX8HPAQ+FhW0kCRuSckcmeTBw0LcgPUnz6xhq6oKo70AdWG7zc5yamcZ/Xke55xI+11uvSksQgkvIFuI3J2JffO+xpxq7SHOo/p9CxtHq1GS71AkpbyCzCUE19HOSQZ0Y7IO2mWgIq/WtO5QRKRVI8jSuGvqpiOt1EO1ZbmEr6pkcEIpAPmbFlKGyYCz8mtjntbXxY3BtcPkzqMrnsqAqzW7tnNvYqzX4yQvNU7rmTrLvBREsJSFg2L+wGF96UvVaSI6+6ItRnOg8QUd6yJvDH/TkQNGlX9VyPF/7km7n/fMs5VeRwyplLeIMuWZAU+o7j3O0wItPfQzgb6/AbT5iJ5GhuaRfGJyQGzxl4k/OiShqGXgaVLpvNuODJXz+m0rDOxCaeNSdXQqsTyFK6G8eMgYXalxyBwYcrZWOOyl6K8cLrFiZOM64hVqYV5d2xfiHTzm5GL57u8LkR16xRvFrK6VxX7pm3ZrZoSga7wo681NqmYVvjQS/M8Sn/LB31zL3str2W0Cv6J9y1IziVGca+j8FRgPYg2uRI06xFKQxG7WpmBLBIoTM19Vh++H+wf0FBDuPxjW4wCIE+d2i9OI23s9RfMb98LUN/RwmYM+Licvl3ZyBesaNoY0sNE0aLTaBbq5tGDHBnsqEbaMhvHY727QBS9kqd+mEDgXrkJI42ZonHmJWJfo9M8UlrJSbAcYe7w9sEVc1bvLQEP+yIJJIVsND7zGGV35AlSq8sbyd9HxbHUE29tTAKCH/qhSsw6miBB/s6NE3/tsYS6/4Mov5B82amuPIjL+dwokfcHLbqxf1N6V3t/na6AxVsX4LrTn9Tk4HCUVUeypS9sHt92hotUfeAxGfcoL+G0dXh2qx6AtRG6xIdzUwgGXjjM53zLoqibzxiqE0v8ysMROBBzRP7pj5EH8l3UpluDWHglvhjYgdGX5RYAoJW+yF487gqbnAsIDP2tKnMOz4WAYQ8PNkbdkTNoIulvRDiudDgsh8fJAK6wOQ8xBOuW2fA6zwtwtz7YJv/03qfR9D8wNI9XehfK+v/ElN4BwCRu7PQTl6DpppKKQ0G2EpQ3fQnOMjG3MZRL/cC6hZpl4hWCB8ifnMbDFD0WOYYuhXoWEd7EbhIty6G4yhOet5mlgtxMlMda3JvFVISBDX2jNwX3rxCpnK4CaODMQC//PI/wLzffaoFc3qjSbmUV3FVYHGYr0VhI0LUAIYYvEgTUA4Al636lS7W0OTI1FbbH5isnMFu8YnDU0KtwJzwa7NJ1+VRNlaa85uw948Nc1taHkWqQMUsKOwpqq8LNL1a9mIC8S6ejTY2EdbdjsyNINJJIdEmJpb/1RnodgcvY4DhdE+eq90+tHe4SwHp2ZetmvrXEG84JdiTtDJrrFTYCHRKYWnKwXb2jzgvTQW5WUTmjrTZGA8IpKntdxtSNuJDuuoRGYFyYE7M5ZXu9ErCx8EcdwHG/wxE43y66O7njrD4F/z0norCBMLkGwpvZv184e7NTLlS8Y6DFlTJH47BXozt7fsizs67h1CFuPslwWtRvazFQhv8wTh891200WD1qVaF08CUBZxEa0qC1sZoivKFrm6I/h6XJhd2WrQbcwg3hyVqwWypro6nOldLSphxCwwQcOlrO3tzrV7ZjOPZ/ozhdUkpPjgBYoLhZkFZdsMzhlHFk9E2VIj8JrZu9vPv4jl9JllmbCQYZLhX3BSKDufKMY+Iid1LO8/MsjS4EmxybBbEJWlxlVTTP8wfCsP6mAzj2QC1WTQ2C+TCkjMjQqvHcoZYeRVb2Zntq1s0sOPOPhc2FSUGeaOh3zdv2IxQplWL94jM9ZrO6jSY4W3gmVF730Xmgr1S0/3/Tj9uJYehaqq7BcuKmJJG1V1VfBqE3vk+ohwjBDKBZm8/KYuC2JAzmI4mAdkl3RJ9npk2+nWiidr8CVP2pGA0WIzIblNxYe+a6BG0EUjpIJbfoBhZexvvgxtoj8AehiHJjWx6fRAAvifCpou3BPvwPcBRn3cBuMgyDZN0KHmCNUX2d2K8mmyJbSJHreoej/ei4W7L3KRX1zdRB9S1+g3ZGXCkQUUtMC8lWnGmIjZxWqe1yXGWBncf/7X/IOZ9LE9ILrENOJy9Rgl+insLh/edVLlreihPqJsArcjz2eRRZVJpTrld/FrfDTSV+gPLIbnTzFHX74X+Aiu8VLcQ1/IVbbvgzhlMxmPXxKXPYMn41pdduqryqz6ponMXoBFNcoXwpTRGZcz3SqUqBBxMENSKYsKPsJwuMNAgL9g8ScQCkBkqFMmPIGwxmeR/OpIwXWNEZ8/oTyD8FUEGjgjYzmpTKTuzDicqVxa79OQ2fXSD/egrFn1qD2XtJqfaggh44SJsJ/Nlg6A6fGvZ/qXpHd14bM5pV3QLAUcNj8Yf8ZJuVHtuNQ8+5Xq1LtByCoohZbGvLok3dpwVWhR5DMEEhYplIvt7AbfFvNKHpR+8Ws7sxjorlyotmx3bqf9JvNqbaXV0isDlKvt8Be0e33EZf6V5jPfF88/uJ1rV23A/47nBsPVLqo3CNGmDBiucb6Rba/K8Tyc3VCFgL55j9HD7KtAEFBY5wT9/uofJt2IhNhSXUBpHpTyA2rRb9D1UN4uLKCiEJU6cgnu3ZBhMl/Oz6dOG4P1hC6gHY+fAk40VOIA0zKXwI2c1umIkjorKUKuCpduGSbm1I5C14lpXxUIZ9TG6FKUKz82DVZ9r4V6NWjvIYyPidJvq5nUvsmnxBnGjrPAAuFdVviLhhSs31vLBkJ0WWbbjBzC8V87mektMAH5+4R8Mz34DYnDfVnSpXtI9YXn+eVHq5S1wa/CdhKHfB4qvmOQ5RrDVpIu9p2khH26utFRsyZQg6Yi/XUFAD1vEvl/9AR6kl0q5i3M0kuxYKYOUn81wvxvqXqQ9f7q957L83VnszyTPMssR59cv6k3mjceTHTvj22cHL0eZKLiyTtTbjPHtfCdSiz8DArJDWau4jwPDAW4JglPrycbikNY75rVYZSTzUp2RYx3L3KSrae5Ph99KJ8aRnWuqCvLgJG0m6JjIqTtw++yyvku2mqbpY52QJiLyz5A0Rjg0eVuvFbh8jFNXQXnizo8JcDkmjWx1gAmBYBkvGCcV2kcCXxTaTVmYvnHzLj2g7MFp5BNqqH5PW7imu8KS6fTNBYU/BGFABeahb1lCahP5eCpXD3MskfvlNRg1D3iQ1H74NaZ5UZ12eXkFUcokOBzPcJrkkxvhXE+3mU99WrQNoL2uxFzY69anLxGs3uTaqBtANKSZop+Jo3WAxHRDG2ATRK1BkO0ee+AEe42XA6G7KM62mG1UKHy0z5LQIzEhKDbepti44XyQQLWYxtWBoBMd20CzNIw//x3ovyLtz2o+iGsLykaVVNfVVSHJRLkcQXibp9itQoBR6/eKIUlhi5xsDQTmNkMwbZx1sQsZKgkYEl8CbOSLwKcaa0Y71ZmsUOsgLuzLVH0+PcB0uZ0OWzzmk15gd+KNJo6+i4Miecq2Pj0y8TBQa5i6vzabqRDx0ED54kAEXVWNDll+m5cHkZNKt3QPyzzPDLxXX/+fpSp+y+hS74QDBPXRvZHNKdJsbCgqP7P85OIld/78jp6oY/EloXd5oa3SO36pN/G+4CfvgweFDp3UGh93ZJ1JTczCXGmGYGduAS50XCc7kdxt/Aihmyi1nXutnU9PlcqC95kdxoEyK7ayKOakt0YY5ckoGCzsGgkil5AVKIjZAHDOUV7QyY4E4NUcrteCz+WKOg0VpmMwktomepJiZbxSMkIx5+GOCNgpNgWtNx+qwhQkwK07bPoRc6p8MW/KEbnStUUuZ8dwHIJViSuBubcSjO2+jIeLceE3j/BhZIw4rVb0u6D4SiCehuTUW7oWaGhesoiAtb9pSsstxcvShAIRSo8H4vo83/A2Hy8uWBDl4AuwrugZrL5vHR8eIVdIs8LQTaYBgoc1np2/IX3RyTQ6BYWsYBPmGvS6PL4ywrF9xvfVW6V8PtTFim9iIClV7YavP70B58BrFBaGhS750GvsupHMbo41VqortUJ8k6iodRFGSoBSiy1cz5hHs/aFppPp+g5KNQgkUHOZU4J6JAJh6UkSijUfA11qItveg8bKhb1Ywt0EFnzexClR/1ZMtZqKnOXUwT2Nymv8NO3mahcFyI2gbDLG0KB8/vciXClUAkQL/6kK0ERn5wwR7hetgX7Zumc13Eh3Mogcj2E/vcMs8/N0XzMUcnNXOdXMhbTUC4RO+Nh7uW3IheYUHCzmLI9yrDQMmlaITfi0c+pAXJIqZ0JtXPzO+DzQExz/jY3DWkwX9DVopo+A5WEn46Tsk8EFc8thTpAnU+bnMZT+1N/oCJhdwRJ4DrPlGHCffQe9C/i1mNC7/U0DSvveslxBifdKbGtNMoBqHg55bPb0Bw7ph5OBdxQ4cRTTrsoDCpQTmyfgbS6jzuTudPV3EXTfO2+ZWBcdsL0a56s/oqGThrFt2Tn54BUXQeZaDvlJPs4eqFvRlrf/0mytxn5aU908Q5O6R/6jfVZF5pkzqNXT/8ls4zwjdNJoelIcA8tgusIhQEi0HFbUh/Jyb+Dt44fGMYlVJtZjmF3gRGFk9ZLbaUD/TcauZrmGwt5Rpz95Lz+UR/tYdtVurH78/TgH7mEQAJWa4BAnoZmeAJkae4cz49OAPe5zJTdgr6Aqs1seBHDLOzlsk1/w0CQKIT2lPeqsw+WszlCSvMpzCnz93JMxkImf1wF+h7FVzlpkzUSaN0y8cjHqd9G4ZzX4qIHk8xX8ztI8IJ3JrdNwj8ai/tl9gJA3OCSJ23269c2AylWp5fQXgm6TMP49HHSYWa+2mOxAdQM/xfssyGpBdiT+uXbgOfpNNnUX2vUmp2kCTZVWlZzdvLM6CeI1pRYgZ5k7C1c70KSvqGUegSZLi+j2Q9lVYGTmZ3gvXCjF9j0xyLN5KYZIkN0AYzwS7IW6nrjlxBYQCJH8i+Y5batoewQ+cRn5b6yaqaXl1tCy74HfmkRYZIY/rfzRSTZN4DEaSqxccRIVkGGkVPXT48FcQ5czVLHfrb9ckwkicUQk3M568gPHf9NajNlg3N75Mvj03PbWXj/Ix4IS2UqSsF6okWgdTHzhE1DKC4H+4OFFibN8WKfZTHtu4/Rnj4zZz1Ou2x1dz+qNbsOb+jtZdFbDH978quT2RHGaWfcvy4jZkpAfpq+XNI8lZj6d1qCD12BNplOWXnFvYePHL1Zw8LpS9InTRyMg6IY5OXHnQnKHcpKye4+auC78HDWLZ+Beh+wAec7FeT/OjwXvLF+wIbb9MVsRjolOYcfMQB0x5rJ6hofrMqWxjTPaYkLdykrZ+l72IgSrk+hYGI7dmP7ix3iao8JMIc2Y4CyDiGuDbUteWz1hUnzp7OdVtjEZfh1cITrQtWLY2k9wvZcqYfdhpZWUoamzD0ENt46uTT8dRiKr8gsgmDbHjtSo7afQ4epEEpzYfxC0+so8TEJcdtE2HeNFUAUDwNVRUcCQtXSsGX5HVXxJRLQDrAccY6Do15yOkOVBExSaNHeMxNjPFS+lQqC5MmxyqPrbadRqqk6x9KEPw58niU+fTuL57x3qM/Jj0cV7GspfJkC1OdP5bgmi4IhysQUpDxNteQ8bjz27QZ12b8elp0SVDdf500nzVRUSCQuPb2m90au53MScBPfHrHJ6AouoV8RgKKSEY3v9YgTmLM31RZRLIQxMyvC0MKcHuKDWvh5uI6q2QDxQtO1CMywkOJIMljOx2SSGsUFTlAMYVN9sh1F0fVaBYCOCQkcIhfMHi4zA4kjXcz0t7X4j4NUNiUOalwjB27i6QniDYIGO7WXOT1QGADgQFSZg9bQEf5ORpriPh3gRWA9rlf5K65Ynl+kVEwf8+MKKuIh9OHzB483Yq0cXkeDY11dPQQv3vC61syWx0aX+LaIpgriEshauQefb3qRS3D3FpNnEsBT2n7kpeiSl7prl805PGPX2kmEnp/KLsQYxideI26p2k2Y0HNcoSSqF5YB+FKdzkGlNVKhtrlf0jlIuJXplKThFeCl/0UaghMElNUADk030cRODElLHacMhMOC/ZtNEb6bVm4BfoJ1xYnjOW4myS9jaSFcnp/uyCUpzi79pvwqvnx2a6A5oSCJxJ36QWqNKtDed2s4IdJbYAIyUBIa6jgh6fEDT/5KnutiZDbXfXvWTmiew5hLG+RHw9EDWyVs50y7wQcWn6+7iSTcWfZkeJT1verhBb7vMnZBjXQpz25544EWMewHlmq19mR9r2AauX9POH4tqHLv7hcmafcwOGxyi1WHUkbE6PrfK3x6cQliGpXVf6UZDQxcydJ5V5ETGj7a0S8UowzoWXsr1fYmtTSRozb3nGthXwcytXti1XoyDEg7UpoJybk22Cbrrl/trRtwS4IisNN+H1Ql0mGVpMmV7YO6AficeGKmHPV6XNECwBgfYlRvWr6juQzemxIhx44h7p3V2fw+68jtl2Wr6O69z7UM/2z2FF5uCoqSopBknUzumJiBfdkI6Hoiu1ul2TyYX1MBHn9HKG5EvcFoYVXpVc2yoiG4SEQWoYxuUebXlOF4hLI8hZg4kxGFhx+57UCUAW04y0MNNC3XImkmyDvi6mVcRTAUprybYRI8/9evepR4WpZJiBq0C3ZfjeIa1STY8USb/6X/OFCD4JByWj0OigmvhoOzfwM0PjuCMyvM7TII14VJfC+ebr5fJG+47/yywWyWDVQeRMa6rzyG7FAWnArk+nrwV1+aOsfEYp+reiDJpf3rWhLyrv9pV7eccOqDgICXQ4F59u81gC+l3fm/7OaXw0iH+0PaN0vaNbMdnLTMLouhrdOf8DdiOgDohKfcALUBbndJSaUJDWA2RBu856geycMEHiprfyJGqJ2KSVdXkqgtSGP6voJ+RnSh8ABkxkj5Kcbar94MN8yv4fzEYuUy6LHOysPpgodoa/NgoGw7yhcsbDQilZmkMDNvCZquXYWKnqN9GPC95/Ll3sTIEpZPWFWe0Iz1cIZ1RyrF3kQMitXeeupFkOcZF6d9xW/jIe/nZHwyv6mKsyRqTXa+i1SQhI/QK455gu+ObaHH73++1QbCN2VczNaTXv/XjH10qvdjt5Dn4X6UE/QOv8wfM3HQbdSrVtVIGbKwnsh6xcZAsZkmHLuSwgZZD5ZbkuAFOvdGvwP5q2SI6YQTHx0CrQlPY7XQpb2JHFk8nTTgSii8PReBVZlelTe8OGciD7kUTMSrR0Fuye4NQ9OM6YjqHzLTOGSIRHfEpMAjM0X78gQaQq/cYdpKO9Zu9eauh6oILRtCGUMjNZ4Pgh90QJ6HiGEeVRdnELrRh00xYqZqC8G0ly13xXTjVdkBUSavXTciLXDqjFgAviXnfcgyeQzrgDl9KXwqk+UxfshprGz8X5vsuhaWRP8clmkkprWz6cMyzbgj4AesVia4m5cE+64l5frBANZzUvy/XAAzRt3UZ/rYypn8MCl1Gk1lsJptW+I5wB1wC7DXWZR4j/L8C0tgoG/dvlpNq6sIBrvulXaNQ3dt7gRwzjT1P/+wmlPTtE2kGdPeDrnPhAv/4TPU1P4YFaKyxMkDLO/ncNLMcDNrAwhoJqyE81HBVtDCXdACujBhhYPUJDnQC08txMUAh4TFjP8vS7sFLw+o1uK7cJhRLa21gMtO1ZYjXqH6JPyhW932ro9J2U4mBaXNnqgGVLfgvI0KkDLqsZx6zegAPlpeBJYfciLAN1nE9O7h0TJfPqPrQkFtD/w7UZERdcGBgj5Dj0YL8sp6c/LlgKAqeC9OyBVBTt+ngnC0ablWf5rrKpZIyWwS22iP7o4dywLXRVSTHE2Xp2hyapzGS81kphR8oo9z18zz6zQBI/zXbfHCtCJ/uoIdC3pA2sWHn58uO+muk8VfMHeItkksmP+6KgtVEPjFOxuLEmPJ64/7J5cxwTGJbPDeqFwqJRjG7qqgCXOG7bYxPsdzZvnwfjZP1TKdqS0FO3w0Bcs6j6DRmn+22iZV0kUDcp7dKVt9B7F4k8Xgix4wUbj2UL0cjkyM1mYMn9BwsEC+DMPUPbcMB+U859LEfuH45Er6oC6CbnEiyPyTY7r5NkK9yo2O/zHn2NNbSdFOsWO9irltz+nA+NlK887v2CpqpUh1kER5WJpr4Ul6jj7pNy90lJQE6WzOHhKbqGCJBcHk6SJoI7aVKU7NQVutUcW6on92buowRXKX9O9t/gpG80JZkXNQfzt112/eMqwRqfTVVKYMBMcFsmxfN1+uELkKfmUiR4lZfRYOt8SrZeWUX2mu50iQ8u2x0UEy4UpX12TfCWj0R3zWM7E4cx6axch0WE5ec7YO8C3Qkk0CcUmf/e2XOJXDmPaeX4OaLYEQ4bBrCP7sYmOkXdm/volV2JcwqPgU18X5DfF3HVpEOA3hQ0dqW9vdqcMdIU88tdvyXI2G29qGbLpgvHpsdxa0v1cZZX1OZo5T1MF2uZ5ikQkvoLp1oueCwEsQOBuyrGjEaxAFPWvO8EGqFQoh/7HSvp4qoBBGj00dti6mxjJc1AaVbdOmrxwlgJD1xGKSCDO0BsQArFlPlatLWwutliifMJmgmwNJ+8bNLZU4g0aNo+QpxupzE87AT+qT500g0KwRbxFhmykA0H9Kl2awisd48DS4Xq1wHTIZKOOZPqfwRo9iSdHN+1IkK9nEW75LwwaG46srlhWMt43zFBCB8Q1AHdaP7FeJaZ0RDAujhbUwQvknP6OCblh6ENcFjv9wvksgKx/nWrISY692AwJReO66MLnu1RLEaX3ZK8jCEBgOlc/D62DmP5e2Culjtkkui18npsrRHlXEwAJQUmDS3Y6+4+DfaKoMcBnQjj4puKIp5FPTOvdktwd0zEY+0uilPVJekzjs1XlumX1gBJ/zRgmozTE4wlXAKqlej2rl3F5ZaOZHgRrs2amUhIWuQC2+JtOasZnJMY3FgkuK8UppxysA6IWWsGow4BAUNIeO9rgbcEx5HbaMGfGtT8T1639lecYAQ9lxU/4XTSK2a3eMNsP8GP5y2dqXDPISo3nydPXKRqluTNnEkggmmGR85kb5+zffpXBBjTfoTuZuIo3DAF8I/ZEj4kucjyu42B8eUB3qyBsGZMF5DlUST3g1ns3o7r9sL1eCSO5rzGKMrDodsdk+ajfcXC/i1ORFtzJ6iodHT8kshlNvMYeBa11Pqsbl5JEV3N06j2se/DILEnAe0u+lL63qbzyt8++R0ULKhgXfeiKk+RZTnQN99+N1biiYtVyD5SqNix5x7sCfKQ7dHtsUhV2RnnYZG1amA1eELa0m5BY6afIonjwmgpKjJrgTW120aSSd3wGqzXDsj0sS600RgrA1qtcILhmcRO2SWtTcn8sMHeOqn0LHgjmMpV8C4ZQhpXBnAob+8EhOlXsgwhqiWr3jeVFA+1UQ9vz2r3fSfPhW8bI2/54VNOh3lGQLYRO+xBAhM3r8hUIxTIENznTWP1c+sln+Yb6bq3HzIdc6h0QtnluoLvIuSr74apAg96kKYc2VfhA7Umnay8Dj/wmaMi5pLwjMjA7rZCOxfxa+Yy/EXxd35ccd4VmURZP1N7AHVaSlGLRe8ZW9XrXP47dfgRxcc5I22IGCZfKN4NKL9uqzL3WqxLv4PtUN4oY43F5Vftk+mldlFgTIJMKeVp4jw2UpOVVVYVTnATwKDePARI+UDVQiTmxJl8tuy1lBnotSjIs6Ped2A63PZDgOgmxl1KZXFF6xPkoZZsg8y5rqirdJmqtFrdtPDeMZzLw4b1ttJOyahz/2XOvdbUCQtq8peex3+CgvaF3HPIM6558aUMtvMhfbUqREx2qMl3WkQJ5i+nSv3QaACOVQNiEojRm5KYmTMbfeRbhYk/PQQTjFOccAwamx9gWTZnnxqi7+Z2Qbql2b8Fg0/CMTTscIY9ltjaGxQi+YRa1D6kMPdowzXipFxBqetuUQXZuZQWQYRZbSF9OZk1rn+00Pj5M2oZEySS+hFxQgM/yDP7QxcEcamq5hZ9M8lP23vhgU7d7meVyLb8dxcucN05+H9uRfX2mWDGVlEJu/3ln/M69XHpUOx1tNdrbElZCt5wuQJ5veNNixFGfDta4/foKEROYHGL5BISWlHgzHYwsaeonAy6dYDJDVyk57PibnOnAEp8WH2+tpF+f2YKEJ0LaYgj7z3AC0VcIYKw5nxxrCvmZll6plFLWtZ1q8YL24e+vlrwo7qq5F+PmcW7P6oA34WbV2SnE66rvOP6Ehu+yX3hkvFOOtIAPEPrmWh0mP2UGsLsC9bJbqnEgHGWb0enr38lVoAlufA4G37dbZRtlXoUkqpPxGucg5jEf2Mjo6yFFhdoCObW01n2f8r8gG5ga+5QJ9slzSQ62WloN5Rkyz51FAEv72psB4FV6AGrrdq+w2aKSrSaE1MEnl9g3nEO6E1NtqqPo7e8wp5SAm4gw+9hUkVK2u2b5WUbf9pqBlfy9VOYMKEC66ZRnnlmbtTZzcsZ8g9jTymy36ZoDKywav3C5kIShEXgSwGKK/9ScFObIHOgKsI0omDtKoa4LtoCT8wTiOkjXkXbe5qcfgPL0itBtd6UpDiq60tbH56Jpd6pVMPPnu8mNp52kas+A0oDB5vtA3p8ySX9KtJPVad5EGA/j0bNlX6BIYGhHbZIxPdfqH0LuxaEX5le1FjY1gGNZ3ZlK9lX1u9Cy+k5x5SkBbHX+qixiV1YtcxMLLLSl1VCA6eUjOqNhrkBt8S0XJ6NcLJ36CNjm8z1zCapVe37oQWHoRr8xSlrCEDkFKbccViucuXs1ugR56VEZy5PiGukaHXxznGsyTLhH7IMPWTIZYVzgw6mj4HKytx93KsFH7527bNVlGusLjOK6Cv/NODrGWIuR+IFa2RF4MUvJN1a4IvG0a1PpasLxKiqo8EWqQuHT8ktt28FtdToBQArFh8c+IHZL9U6Ngmp4vBEoC+6V7xOWBv6yLP4oRIu95xhEWGicq52R+XkISitaE8Wz6dLPHFttZ88nhpM04Q6G+td4KTidk5EbTQTpqrnUflTH40HdpGMzm5sbapY4rF7lEyEwzbT1EdCIadJbbUIAYgY3G7uovMFNUK8/hEY2zRsDkZpFhgxoKCtGKlCFuniOeN+CApdMVQRnNJtkogFK+wfdNjhu0yuhnpCbjYw0ILenG+of7zeD2tbaiCZDS2EzO3Zk1+biV5FpN8PHZb2cgAQ+UqRZUb+Btvx5EpEH5cV6DvRLzcSyp4StZcRW4efkbHHA7QbKiu6Rf2oPoNc6qeBqQkrvOyKgW4z9WA7G2MvvKwv0diNf7CubaY1YHfMLhEhKwAMQyfblUVA7cRjXryTrYpIhuBaZiSetIsnk4NDfllU/CfhaN5YyFR3B3GPl/PsJfbciX9Z/fggX7hSwU1tz6/Q9eBoOh1YDulb9xOexZ26zZUmcwztpVnchoogOvx27+mIegTs8BpH4L8QFjGWDYC7O6+z0BJGlGACwMJikxndQeV2dEZ9rcCgUTP1zbE5pkq7/953DQw/oka3X+WwePEVp7ly9LtWs2UNZQYMNKCRffW+gM6tCbrRux80OW6q0eNs58+xcfyAKaorIrab3khm9notslkTedsYAnozZuuzU/xdzbtjlMefhEh/fO2en48/GsKCnr4UlumqhB3w6x2bYziBQqqqu0pr31/NqGPYrFJ2UHmSeawtlAnvXPjXkl1OQktOQVCYZZwveg99q1ZV25d2KJIeWiRZCX2eGBXE8u/cuTfdwFZUrfWm+ZmsnJNfN0tKRVVwTxt1gUr0tDdvXzWmOuaMcrH8A73hX84kq5cVvfH3p38aElkaY2iVQwzOaclBEO2pHTBPaHfINF4SiBOwTQpl/E9ndXRE6yz+EFQrrZz9UiXgqe87aLXagFtPZrKQW/FIkfe5wzUR+0f8/JphVxtJ0KfoLBP2APbuGiajrkz7WUR5Qfe8vhrKtVg18nNzm2U4Iq7haX2634Z518/xZbF0dUbb8b2cAUOyx2hMmab9W1D95unWyBaXL7APQZig2EP+YJqYNgIc9Z6mCrsGQU3mJpk2hX/UvtntiKFLky5+rTjLxIX6WKeV41QePheNHvWwa5JNUY0N0TRGowjuoEUMSZhfvsnFmZQKjd33OVc1DXOhvl3bqooafjAJMmFZeuZLuuLP9rrQo1IWND1F4QaRiNrTUiJARmS06j0YdV6HuGvf4OC1ont7O80GoAAf9PGWDMiHo/UEaMZhg9ltfEfmvhZ+EKYR09Um4c+9Qa7WM94HBnA9n7BF/+foEdy6+Clgq+1GmrPU2r5ghpSPHAp2FEXdqBLowefoMIgJr9Mee+z35o8rj0kfOdwsZZfqH0oHg3xFWk2PFsuWSqfmnJA5Idkp+ox88EExKnfph9aNeA5bN1e7fedbZUS4bP0V4b7lshVwjWuKq2PztAvi73NPWuHIyLtt//Iyt4fsy4B4h8gGiP2Pp9V1gnGZ99U0DuHZhbP3xhSg0IZlltZVOmv2bLDw4g9wyIHRs5af9kwZyMaNSatQat+a5fTcGITq7v2vTRpD7VkD2f6PDeLmUC/HnyklmFQAbCOYRH9BiC7/fx6y+fKmsg/hvT6cF7WbYPboigmnx4Lf1hqmcTQE9cAdM+WvMQs1mImhGJkpzwiQLM9zvwf276+KQnd+CSpzKsuOcydmRp1c11MRCoobCL45P5jvooxZx6A9+sMVSgbnJ9ymSiHt64/mdLQ4io8b7tX0tCugnpdDDOC19PPlFgqZPfHJ7H7/guOTf8BiZAkj+LVhvYZsBd8QGEeUDpvkKJ7kofhAqJ1FSGniXFLY+kCdwgHO1raMlN96YOAeFGwhfAEw2qlytsHoO2Xosy28pr4ShnZFYMGfZ7JluQQejc2+z7RoR5FT7bqBW8i2C0mbbPu2K672Q+ynEvqzLSZ93ke7uXzdbLZYR689CdJTftdMsev1DWYuaDeUjay759qWFSkCxpHMJCbnNxr20xnbydk0DingtBX6vmbmfBpmuEqElhOaNuEwZlTIh8bHbpvwKuiE2vSAb9yUCr35C24Et5iqqQTIl3inTe7DTKeLfs/zZKO9UP+8H9FHveNnRYaF/pR2wj/7N/dH2R7F9hsHx41RJFRZ0c7i//PSHuKrLl39BJMg87k48DwNvOfhKTtjfdDOhI9fnF/muiOqH+N/JG+Zbfh6V3GLnDaN4QvkJP7i3n8iabW+myId67r4BO04F/G9aSKnJ5Jwy/JZc4y9pHQY+IF4+c28RNSMsfpyYkZ7qJwsl3e1BT6Us0HhQwZ7IZxmF+4rkm2f35c/8xIyNhAxjdGO+qDusNht2IxuQd4aM3mnkIMfjNEBvJ6Np4i6ODDLI4zMiEMa6lNjX/lNF8UeUHpZzDZaUj2hy0x001c0WkLoGLMP5J4uVGft3i9pW/enud+Jw4EnfdJdSCn3OExtUb6J3Q4TpWGnVauAe+87lajmFlmtwf/Rq00PssRQ6BkpXXZzgcuqecPDzZvCC560x9qyt7+2guolVOMud7nQzx2SgrR+u99SE9hsM2NREQjSacQCgbVJhxP7ew9I+I0uIXC6V9po3hfM3Q7FcDEChJ1E2lzN/+jb9LE1xYtA4XJVJGun56nIiuO2G0tAgIONB1pgnllvR3KinXdaeGvwJtgr5JKhb5Zh7nOQc4rCWjyj5eq7XPcRFmBeFT4japJW67JhK1AfKTbJVJCppxvxv5Zx0ImLuijH6ibkbsBlJDGrJYA+NTMCFYm19a2PLvxhMZLSXd0r4UlXkDeMh750WuStDCeSLr73sRrVlEGsj7bpsrHg+begmcMqg8s5m+DNE0/DWluvYBaHEDFiwhzRHhYjISwsVDa2xdbOLSSQb6g5Ot4GPkNpzMBqZCRxRQWm5EhcWYx+HBxazcEDTAfVbz4VBGtbQopQi53jnrNljOSEuw3u3tsTGLHLIFsM1ImNrs1ZULZ1/o5gUfMQVCMivrvEhogcS+VBIAFnFOr72Q1MFho7hIWPIL8bV61z3tP7Wdyao/6n2dMHMrZ9y8FuguRRda144WppFumTI2KPnlnzlOs8WhPEpMxbBWC2ZEkWTkorw5d9SvkX2CKJje83w08FUs0A47Cbq24zofgm0rMS+ID/zHv74XOR5LcUHhASWlXWE1DkrZzA7Jh4uiZP6gazEYE1zKAe+OyyvCTtx5ycdAquDPVk75kcRMawg1MwA+lqxOkPgIOVHYCNf0ppcopmp3waLQKJ2eOPwdfYk+Vdb76DuUtYEJY18bj95AmJzxjlJPAj7kX3KsD5Y3Hfmpylr3kKSRUOpOLToCgHA4rnai0au4glx5/Tm4nMKKmrdBdZGaGQZBdiWKe/4bU5ibpE0j/bWaWAqXle1zzqZc3Lkd9LqsaT0JcJPN1KMLW7hF4hPSzolm3BYmRyShd1ahslmuUtrqFjVWD3n/5LY9yYIewmhCUDLCaHHZQ59iS+Gjd1z77XLY+Gk13cb5dqFY2h6MG6Y2qkW5ID988HhrU+qHBPtZVKV2GyeIW/EcYAaBkqqi1pX0oxwe6JlYrtXdeKsrfjDqOgbvK5WF3WspMiJsDkNnd+ar8XPsKl5djUyGLG7DZaCcFje96ui8j/fZ7Ty+hxSvogEHXEsyB5NNkG0fKpalH2ZdRPSlYalCvSxb3VmfK3EaMSsKuyE1hhX8zSwxkI8S0Lm/s97bmar5aY7uQzstQ0N+u9Op1ardboIzOYJFfhbgspdn3u6QXmmwTxxUwGxdXGdc4caKbuvVha+07woXRVnc35d49ZKt9WzAu2Lbl9CRdpBkrlK8rOpBUUhobfQrYXS2zdHxq2aHSb9spHNBJlKLIzwePw1LTKQ/D0ZU51vAyGZUk8zYUNcQ/nCLdMd1xBTBKZND5JcoOmY2uNAyjgDT0V6pyWCuPjK0XGkl4vuFipj6/5IULRvPio8ae7i/tSiJOYcSiApcB5efAx6taFk+DlvtahJVMrIjrvDmiBI6UbmkCbE9PLdi60ngydTNUnH+HfZ1TQdPX0X+a8jNa6zwmy2VDeVDfdVDaffcpQSbjEG56+B+CTnn9N1dzy1cmo/0TYGu1Uf+duIPyOEqEYr+E1+qt1QTla2rXfWf+PRU5CjIAJGDyfcTUhZJ6iAYA3lsaVWACmwXg9eMabHfGycL4vY0DGyYJHNwWrGPlxrimMgrKefI8KGY15WL/slA+i2tWCEGMXUZbV3U4cPMEQNl3wQ2FI3ecMRDsflWB+TmU1zsekSjju8dn/8u8SRNuA+KxlNetFb2MlyfaWAycYcrEIpfmHGurjfjxyplRQigtHWIEYN11OdqJSNbTn6kGqSZRQhG+IHUEGOqzSHyl2wT75/u9+PVtOaRSlGAu3fY4HAizsoIolyw1qhyF9E5LIcstYqIZZu038yCXwyEaBFAset5mp5x795lIkgU7kTs0Pg6UNI5nTQA9uAU4zyCj2vrgCFLAwSOodpfVeoTTzMoRssTQr5UW60p1hOvafIb78i8dn0P3sw2/orUYIOFHAj6UaKndzI2UQYnomSO5ESH2g0qo9iOszN2/fZacFEnSV1HpL5czSH6h/6Un/mj16WtyTLKob6LXHtdT3BLpwdK0K6Jj5GiByWUvTozyqch7H24/JyR2c1Q4U+pr7cIdwOtL3hL4b0++jzW3rqRSFSHkqz/23aL1veQl4/tVywNELbqRiV1onXEe4NAU8YqsOUgUdlD1i+NwvMpzwHtZmsYyim3tdiqFA7W4nHx7OWSB9EppFa1GrdES2wspzD8AN+TRdXhTQfzxsXLhp5sdOpIkjtTWB/dfzcBk+FZiEIR5trwMSYtwz8e3b4a2OD8Kcq4/WYFgkjI1/Apgd//0vnRHtCaDBYK3EOcPKMEon9KAxl/si7XpYshAUNjLuflplYkbn+eK1arQStXxIGf0NCA4Au/yzCR2gCKXZMx2pqY0w23YYGpGD37CL8upq8spWjVW10QjGAs01fRqrwEEhESzyEPH0HM/G8poxOpgQynbVPIO2VVhpYmm6ev/S0WMcCoFa34+/Qpwsg5FD9tT4fXeCCgCcanZYiNxkTDl2U/OI/sNL73HQ8/xmn9f4bk4poVMmBpUocxAVJEK8ELKbLO2YdtzPjYWFfmsZvIs4EGDEaqtZ1f5D4mQasF1bJQMLSgJsRaqzVQbC8sZEkwEg3FoSb6s2I6m0FGMewgXtb2qhSGcMgzbD+afDd5uO+iRhbuLLnHdJmVIHe64zq2pRaVdnY4pcmujZuJNJCSGAgK4qzLUG2lp19Wq+xqxiHR1Ck1V2lsW2pDFMEPP8mDVob11Bv1FEQRP/fwtQQP4R3dlUyToIL585TGJQxfGhTQbmvT664EwyewKByagIMK0viWSGRJDrRw1avLbRHFtE7uBK0EtMIM5DEW2f5ijOCZ4daYY6FFNv77PLmldoGyROK+WBxH+0nKw7AHa2CcLr1Gxm/bTo6jl9JeCqmnBogkEjXG5WjOaCFpyGi0e48uu4vsU2cPwEIp3W3WYrzuQc+6en0wO9BJLNg13weWd4HzXfgUVXay+U18UEi6h12m2hQc92bajc5pTiDbWbGY5scPeGo24U3qFABosJPp9ovAk/2rFoNXmTL6N+IiImK/TvTKPKAze9KyVaYmRS79eTd2Fdiq/TavFRQv7DqcyxbQjJbz6Bw7aJOm5dkNL7p7kYzWxQ8I9kuphZqfS8t3MIDiMOtZh8I20CWi5Ii1nqmB7Y4KtYLFqdMXEltQ75BqU4am6QpyT8vdL/DsDq7ZXP6+9rQ9OWI2i9p0uYUJD0Z5N0h7+kPhVc+OmuzkKpGtMGf1zadIUqqeku8w7LT4rl7ujXxrlHLVzCQzROVjClt93dQvRdcLVrqan4PY5lkr18G3vOy7VJ773ZAAy0lh+gYagkaUOnhfP5TpVXr67fNxnWK2ZFQ8cAmTgzE5njD7lCm9zd3rxgkqtEEn2aZ5MPRRmqpq5rKlKRGntiFzpszXDaaqY724v13gD8Pwa1jBDG3pbIs4THpESxmeuNYSEmdBbcH8u7nDCpC0rQTXasPii8rYwxWVh+svlsMVk6oPhMx8nUCSp94u2Uo80Aw1dwLo3gd3vVATGaOOgTqHs3hQgYwHYdhS2PRpJpgtxVMGgfmgtIhh7WluKFwO7trICpx8QnfRqaUV1vvL9eAhZUH37n7r2RdkG8nLEM+r293G0mpQT6IpcxbCoeL5nUj15ezG4VkcTJ9atUxSZMm86egGPPQLOOelBoMaRFDPq/K0r2BEg0DZcNl9ANVKwXnqtQRUHErxQoIydsmBKVrmXe+C9QhICad0N4KUxIGb3bTEv070foVrszoPCXivG6Io/cLJt2OfNs9/8QCQsE4F5FJOlMA5nU1JirYzw43rA6QTIC2PJ5/uRtfSnrzNYxhFn6BTjJvoyZQENlBAfIsO+BLYR9/syMr6LgxB/4u+EEaN2EzPL3ETzBrdJuSqr+bwAbsA5h7ypaIdKo8m993WyJDsGoAOf4RpofOk/lfLn2uvuEdxIHN6FTY0oQFxyKJVfh1Dk2ksiYH4KuYzjLRq2RQg/JZeFFzS5EQ5Dae/+nDviOH4h9rzaCmlxQI0VPxrd+BCKJYdMzbb+vn9mbI4OH0qqFJmDVfZoCYzyUn8WmxnIpGNxzIFa5+JlBnjV9yy4C0+XvJxBn6y0uQUwmbNsD+fQQvgxJPGzPmGXb7kr/XdcrYIbciO+GR9cj3OtIQ28WoFjbePrnccYIj2bSU1jwp/ez+lDfZEvBJ0Z0MamdzcL24ChWC2wat27Z+FITSDT0sQ7wkvC0XmcoTSDLL2OMp7GoCGyZTzRWu1tlesYEnlGrwEifCRsu+H9BqJDJz9q5mSX30PfgW62+rMqEr+zM3pbQzDAh7Jy4hHX3to8IVWNCauWwwdx8pyU8iLc87d7lVnDwzlUPPZp/jvoBCrNwOQYL52GHKkzevKqhiXSZ9hZYeGc74FP92tstCBHTb5DpIld/uIZLgu0OGa4GNgkbO3ES0Y/YCq56mIWxDA3qmwYW5th/U/QnSWkz2yPeOgL+67LVjYXNwtj4LXBEMuaqPMuPKDkOOiLyfMb3suKTttkEZF7nieb6S/JKQbtcn/lsOjjJP24fQtk/jEcHbNd/nBNdDM0ioYMtptjh6zUQcPZXZvwN2SLrBGP6DUOizndS84ljhJLVQ7NPQKckMHa6Uwr16MKSEyunEb+TY1LyUJyxR3pQKC4Kx3nwSR//8eGG9wNP54gXGhncTtGy8p9IqL39c9gRzYJf92/6m09PMyNer5TKeGLd1LPa9HZov0B1Xe9AyWzJmpyRycuC/qii25UFK2z04DdpimWkW+ffCHWgUrHW9FVFJHDjAhRlHnZPvo2TKeLmU5m5h/1pks15TmRQr4Kis8lW+x9I3tU6Iaakiva0MLOzOkzf4irauqieQaGMVuKOha7NcK8v+xJ7JZHekKz9mcAf69FF02n33Knlt/LLa9rKUZpmtoEaWHbEaYGMJ9G1N4OiPqWN+fZDmkbMIJsnSVDeOS6Y5pD2Da0Y5nYXkh5uDNSA8pptFF6VKdBOZH3H94NMlpAhyTcH7DC2mjHMF0nn6mg05lnS7CtGOqFYToc+gmQyW2aZz7r1l8UQ2kaT0uazzUGLrG187bAfgnO29eOVytLg0mClahiR40RAtmKNClRt2ppRHZeoZAUvEK4zw/uPXBazzw4GDOwDAG2JTy90vsDdHl+Df7juToU0hAxu5gPX/oNYRXtPKZrRgIAyVM1M1a9UqRY1ummX84IiBImnSgvSXjcq/rdcitCjrFSadDCFmvfHtFcq4YKPFUGdm5TJGpT8udLSkfyBBaigifnNRclReo09rLMcGUZulW/sYfl1Dih7nKtU7CmP5+r76WgZwcHtgiAvf8WgqAKzR3o/7HqfyqDYn5zNJ5IZeQ0B04+yqobQSUk6FYeVoVDlnJkS4rUqtRNdmpL8xNLh8HxSaC0WPrp9kBuOjZSm16+VV2QUAMfhyADJsnMONIBLNMvtermeQtytZO4kDk4crn2EvNS8je+AauZ8fTDPdP673RJjFOJzRnh7FPSb2SPTbwOJyQlNGaLz8WqdMYaYVAtRhyJKM73gOrwnAOBl/E1s0x33uwx/n89be2tCpEumv8unbxLZe7bQWU4ifEj+bxnb6y3WHM9Z/XU1WERayfAOv/YSpM3ZT2X7HMSRaxfIA6nWrc9SARUO6y2qkNMWChWqTRW4uwlBKtPPl8hTzcI6w7SDEHwzPEyGLN5Nf0DeyRg3R3hTODo739tf/H9/Obb4Zq4zZi/dTH9/BE37Jmco+Tk/AFCu1jwwELYhjZ91iCBeYIpxxqtZxzh8xLT1t/q6VkdoRXllAFYUJ+aKCUp1O5UTeNkNHoMYfXQrH/EcVH43TPENhrXNTa5wM5xRCFE+6xC4tjTaRnAF5r9SS8EmFf6vp7d5nuoaNq5nbLYVYwFbaoGEx1zZj1ppMyci94MmyIgMqjC4i/eNbhTLSRG7CJXvXNKYJd9a8UudZXGjQDjyuhYmoFve9qBq2SShrvmy7smdKXsMIISYz/6PDFEkyVcChDB/0k4qXmjtQtEd688CaUy67/0MWA4c5ySYgAN0c3DEWmoECgMCdvVs0oXqh7rvx6i0hQ+HHCQ5vlThJY8rWp1dgFxoqAk+uwHcaF0E1oet818lNyPHkpwE1DouwpScnBGl4eePhos+2GR1TMbOukiZNqMW4s+GEX75hNPqGNAaNTVPVx6zqTymA5UrwQvkbFBdOnTILx8y17RlIiRFRzPtzMSX43qtkytyPA/y3tBSaA2BUlD6S/B3HqjOrkfZ/LL+/Y0wOOCwFh/XXLU7nJtYyobqmlYT4yf8q5n0k8WTYRCAj+CePQ8FaysGcbkeBAblDAN4ZhemSNu/+53SDMQE23yLbVRTo6tyB0sGwnmP41+eTJ5c5xVEnc3wubJsJ5bGGtrrVQUsp9LR1Xqi2tWXx2SpF8EvBOcVdYB66JL7PqdLzduPDHQvQ2s7s5BBEbhtkvA5djt6z8LEIHyGpAJTQFqMk1cM9FcOiJ15yioFjxPPvp4Kv2z3OJ/i82WvajaEHLOXBS1Czco5zEayaMN+MaAvZek3scV8qEb6EVTfREUFKhaEb3eAeI4pLhqIner7kOAr6gJjo6nHM7e1CVKNaJ6E3YblqQCV2ca4fVrgEXbfmLldWvKHyXC4lsFnjX/bPi0Bg92CbtnDpf7BOFIKQ/SUHa5l6XhVZLaPehllwMQpYhTm1WATXHB1R3hOKDjFJzJtBlgprGRGRFoHT4G3B7TguzNzu+q/C/qZDekziO5AdkJSbeXCetGkhsZOn7KIzPS1pv1CtrWqZ+8fh0IvnU48ZA7b5Kc0+CILR6rDX4UQDMBQvip/re9TX9QNmw2sZClMuiWb3A3b7hgGiOB4bWnV5me1WjnJFNo/eqtK78Ab3CMxR78LAJowSoox+Z7r8iBoMG3A35XgihFzqT+xubW1Tcxefl5TChjWdEibFK6G3sw0cSdolxFqcS/iGxmm1AlfkF3JYqnBRlr2NhTnYtXX5y0t2nSiUGyMt5dPTV4XrVduRTrczVKzGxl9UQFC/dQenHagHxM1zFHxxtPUCkQapNfEBx78Ovoq0Bc3pp2DVmn1hDScPffO/O8pb+4MY39c4wTaVj8WlC0eoda7b9fRXS4oCs77QU/LEjSd6EyTunastprw2IfMceC3qcbWRq5Agedian+JgaIBvXGkwHPnGF2x114n8tACLQVSIyZiNWqgHEdppu776G/qukqPEu0zCLpIWgKoI+ooRSIjCtn4fNZ1NwMsYnIbGS//PGz6qnqrljhAYY9KYj5O8mnNsyGnXY3GxbG1ZQbrGtiMoQYEI7IRFgSYZMaqBNaplXQQBjSzGw2IWOq7knYJRRSeB2XH3et6H5FlfWT0NC+QoFfcyigBmW2sNeQY7Qirb3HsSyT4q6AHzbOHMS7JCSkLkKdcRmDZvYl3Bl8Cr/VHo+hMRn3MsERQ69zLCR6UIVQ2/d57KtHzGvOimcVEvUxQGvKiakj49prN+YoARX6NmgK5IyzfRx4HdtqIaGs85J6uhsQ7S6HE1vofTQkPkoJJgCMAy06GUQhGYQvqcICut29hkIdzJTBcuS0bsLWT08CAQni2zhpci6On7ohj7lB+sejXa5MRSMxoKs6WAxHi60v21d9116RDnmGj76D74cBI5vyWAmYFmZGVomHkS1leF/RrDwwTaKDUy2UaBxLAt9O3PSDNMzT0ItHz3R17YLA83MObRADlG4Vc3xggVEKbkSfwUXfvebfYRKxiUg6J7tweuC37/oJUxTyIfSI0/UljDKllYzdeFbKFKzafR8vd4dCf4kBBsDRl70MRAleCBdA2Pf9J7onVOIs8i0Zgp/sJA5J8abj+vYZr/Pas9ymTFukef5RZDRpcBBK6ahkHHUjS5Jpx4VQrQiI3Mn0edpMYhaoG/Kkcdpq07Ctpp+s8xlbFISVcBFeFzpMC3P8jSYQ=" title="Mekko Graphics Chart">
            <a:extLst>
              <a:ext uri="{FF2B5EF4-FFF2-40B4-BE49-F238E27FC236}">
                <a16:creationId xmlns:a16="http://schemas.microsoft.com/office/drawing/2014/main" id="{AC21E52F-8919-CB0E-6563-CF981E38154C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 bwMode="gray">
          <a:xfrm>
            <a:off x="415417" y="4079620"/>
            <a:ext cx="7832383" cy="2100973"/>
          </a:xfrm>
          <a:prstGeom prst="rect">
            <a:avLst/>
          </a:prstGeom>
          <a:blipFill>
            <a:blip r:embed="rId17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>
              <a:solidFill>
                <a:schemeClr val="tx1"/>
              </a:solidFill>
            </a:endParaRPr>
          </a:p>
        </p:txBody>
      </p:sp>
      <p:grpSp>
        <p:nvGrpSpPr>
          <p:cNvPr id="13" name="btfpColumnHeaderBox584310">
            <a:extLst>
              <a:ext uri="{FF2B5EF4-FFF2-40B4-BE49-F238E27FC236}">
                <a16:creationId xmlns:a16="http://schemas.microsoft.com/office/drawing/2014/main" id="{BC96C576-6E14-ACA5-F351-12DD90453915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330200" y="1298301"/>
            <a:ext cx="7507288" cy="288219"/>
            <a:chOff x="330200" y="1292419"/>
            <a:chExt cx="11531600" cy="288219"/>
          </a:xfrm>
        </p:grpSpPr>
        <p:sp>
          <p:nvSpPr>
            <p:cNvPr id="14" name="btfpColumnHeaderBoxText584310">
              <a:extLst>
                <a:ext uri="{FF2B5EF4-FFF2-40B4-BE49-F238E27FC236}">
                  <a16:creationId xmlns:a16="http://schemas.microsoft.com/office/drawing/2014/main" id="{9876F40F-1334-6205-5140-1F0B44C35F3A}"/>
                </a:ext>
              </a:extLst>
            </p:cNvPr>
            <p:cNvSpPr txBox="1"/>
            <p:nvPr/>
          </p:nvSpPr>
          <p:spPr bwMode="gray">
            <a:xfrm>
              <a:off x="330200" y="1292419"/>
              <a:ext cx="11531600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Geography split by R&amp;D roles</a:t>
              </a:r>
            </a:p>
          </p:txBody>
        </p:sp>
        <p:cxnSp>
          <p:nvCxnSpPr>
            <p:cNvPr id="21" name="btfpColumnHeaderBoxLine584310">
              <a:extLst>
                <a:ext uri="{FF2B5EF4-FFF2-40B4-BE49-F238E27FC236}">
                  <a16:creationId xmlns:a16="http://schemas.microsoft.com/office/drawing/2014/main" id="{4194449C-8BFF-DBC3-312B-9F115A49E97C}"/>
                </a:ext>
              </a:extLst>
            </p:cNvPr>
            <p:cNvCxnSpPr/>
            <p:nvPr/>
          </p:nvCxnSpPr>
          <p:spPr bwMode="gray">
            <a:xfrm>
              <a:off x="330200" y="1576362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btfpColumnHeaderBox584310">
            <a:extLst>
              <a:ext uri="{FF2B5EF4-FFF2-40B4-BE49-F238E27FC236}">
                <a16:creationId xmlns:a16="http://schemas.microsoft.com/office/drawing/2014/main" id="{679C86DA-C413-E163-BC2A-33A012126C77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330200" y="3679684"/>
            <a:ext cx="7507288" cy="296578"/>
            <a:chOff x="330200" y="1292419"/>
            <a:chExt cx="11531600" cy="296578"/>
          </a:xfrm>
        </p:grpSpPr>
        <p:sp>
          <p:nvSpPr>
            <p:cNvPr id="34" name="btfpColumnHeaderBoxText584310">
              <a:extLst>
                <a:ext uri="{FF2B5EF4-FFF2-40B4-BE49-F238E27FC236}">
                  <a16:creationId xmlns:a16="http://schemas.microsoft.com/office/drawing/2014/main" id="{EBE2903E-B697-EDE3-A4C1-DE38C955D369}"/>
                </a:ext>
              </a:extLst>
            </p:cNvPr>
            <p:cNvSpPr txBox="1"/>
            <p:nvPr/>
          </p:nvSpPr>
          <p:spPr bwMode="gray">
            <a:xfrm>
              <a:off x="330200" y="1292419"/>
              <a:ext cx="11531600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Tenure split by R&amp;D roles</a:t>
              </a:r>
            </a:p>
          </p:txBody>
        </p:sp>
        <p:cxnSp>
          <p:nvCxnSpPr>
            <p:cNvPr id="35" name="btfpColumnHeaderBoxLine584310">
              <a:extLst>
                <a:ext uri="{FF2B5EF4-FFF2-40B4-BE49-F238E27FC236}">
                  <a16:creationId xmlns:a16="http://schemas.microsoft.com/office/drawing/2014/main" id="{C5069035-EC62-716F-B409-9B5A20270616}"/>
                </a:ext>
              </a:extLst>
            </p:cNvPr>
            <p:cNvCxnSpPr/>
            <p:nvPr/>
          </p:nvCxnSpPr>
          <p:spPr bwMode="gray">
            <a:xfrm>
              <a:off x="330200" y="1588997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btfpCallout318012">
            <a:extLst>
              <a:ext uri="{FF2B5EF4-FFF2-40B4-BE49-F238E27FC236}">
                <a16:creationId xmlns:a16="http://schemas.microsoft.com/office/drawing/2014/main" id="{2A583AD3-D974-8BC1-8434-3F69F6B4122F}"/>
              </a:ext>
            </a:extLst>
          </p:cNvPr>
          <p:cNvSpPr/>
          <p:nvPr/>
        </p:nvSpPr>
        <p:spPr bwMode="gray">
          <a:xfrm>
            <a:off x="2750780" y="3550048"/>
            <a:ext cx="2254770" cy="320057"/>
          </a:xfrm>
          <a:prstGeom prst="wedgeRectCallout">
            <a:avLst>
              <a:gd name="adj1" fmla="val -61488"/>
              <a:gd name="adj2" fmla="val -51145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900">
                <a:solidFill>
                  <a:srgbClr val="5C5C5C"/>
                </a:solidFill>
              </a:rPr>
              <a:t>Product management includes 8 Product Analysts along with Product Managers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728187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3" name="think-cell data - do not delete" hidden="1">
            <a:extLst>
              <a:ext uri="{FF2B5EF4-FFF2-40B4-BE49-F238E27FC236}">
                <a16:creationId xmlns:a16="http://schemas.microsoft.com/office/drawing/2014/main" id="{6ABFF9D6-230F-AF21-5B7A-981CAF866F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84" imgH="486" progId="TCLayout.ActiveDocument.1">
                  <p:embed/>
                </p:oleObj>
              </mc:Choice>
              <mc:Fallback>
                <p:oleObj name="think-cell Slide" r:id="rId15" imgW="484" imgH="486" progId="TCLayout.ActiveDocument.1">
                  <p:embed/>
                  <p:pic>
                    <p:nvPicPr>
                      <p:cNvPr id="7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BFF9D6-230F-AF21-5B7A-981CAF866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1" name="btfpColumnIndicatorGroup2">
            <a:extLst>
              <a:ext uri="{FF2B5EF4-FFF2-40B4-BE49-F238E27FC236}">
                <a16:creationId xmlns:a16="http://schemas.microsoft.com/office/drawing/2014/main" id="{DD166B89-7200-A4B1-BDB2-9B607F265C86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69" name="btfpColumnGapBlocker242492">
              <a:extLst>
                <a:ext uri="{FF2B5EF4-FFF2-40B4-BE49-F238E27FC236}">
                  <a16:creationId xmlns:a16="http://schemas.microsoft.com/office/drawing/2014/main" id="{9775B4B2-A19B-1766-5191-61C1EBD9C7B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67" name="btfpColumnGapBlocker515734">
              <a:extLst>
                <a:ext uri="{FF2B5EF4-FFF2-40B4-BE49-F238E27FC236}">
                  <a16:creationId xmlns:a16="http://schemas.microsoft.com/office/drawing/2014/main" id="{2A6F5F8B-F621-E556-2CEB-5BAED394F3C6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5" name="btfpColumnIndicator536058">
              <a:extLst>
                <a:ext uri="{FF2B5EF4-FFF2-40B4-BE49-F238E27FC236}">
                  <a16:creationId xmlns:a16="http://schemas.microsoft.com/office/drawing/2014/main" id="{471CB955-A12A-25AA-BFBB-73CCFA21D0D2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btfpColumnIndicator680109">
              <a:extLst>
                <a:ext uri="{FF2B5EF4-FFF2-40B4-BE49-F238E27FC236}">
                  <a16:creationId xmlns:a16="http://schemas.microsoft.com/office/drawing/2014/main" id="{928F6B3E-176B-1B89-35B9-A2C0D8D43E4D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btfpColumnGapBlocker141709">
              <a:extLst>
                <a:ext uri="{FF2B5EF4-FFF2-40B4-BE49-F238E27FC236}">
                  <a16:creationId xmlns:a16="http://schemas.microsoft.com/office/drawing/2014/main" id="{2EF0ADBF-70A5-4EA0-C93E-80D89B11A22D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8" name="btfpColumnIndicator673568">
              <a:extLst>
                <a:ext uri="{FF2B5EF4-FFF2-40B4-BE49-F238E27FC236}">
                  <a16:creationId xmlns:a16="http://schemas.microsoft.com/office/drawing/2014/main" id="{66B04ED0-48E9-27CD-6158-C55327353539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868336">
              <a:extLst>
                <a:ext uri="{FF2B5EF4-FFF2-40B4-BE49-F238E27FC236}">
                  <a16:creationId xmlns:a16="http://schemas.microsoft.com/office/drawing/2014/main" id="{FFC95FF4-BDB2-117C-703F-CFA858C5FF87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btfpColumnGapBlocker777370">
              <a:extLst>
                <a:ext uri="{FF2B5EF4-FFF2-40B4-BE49-F238E27FC236}">
                  <a16:creationId xmlns:a16="http://schemas.microsoft.com/office/drawing/2014/main" id="{33303003-C2BE-CCDA-B5D8-AF82321AA660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btfpColumnIndicator487552">
              <a:extLst>
                <a:ext uri="{FF2B5EF4-FFF2-40B4-BE49-F238E27FC236}">
                  <a16:creationId xmlns:a16="http://schemas.microsoft.com/office/drawing/2014/main" id="{72B5982E-C29B-CF25-0D8D-98A273193CDA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btfpColumnIndicator548416">
              <a:extLst>
                <a:ext uri="{FF2B5EF4-FFF2-40B4-BE49-F238E27FC236}">
                  <a16:creationId xmlns:a16="http://schemas.microsoft.com/office/drawing/2014/main" id="{99033928-17DF-896E-B913-5A74607976F5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btfpColumnIndicatorGroup1">
            <a:extLst>
              <a:ext uri="{FF2B5EF4-FFF2-40B4-BE49-F238E27FC236}">
                <a16:creationId xmlns:a16="http://schemas.microsoft.com/office/drawing/2014/main" id="{4D214ADB-2098-DC53-13BE-4BAF763B63A4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68" name="btfpColumnGapBlocker543557">
              <a:extLst>
                <a:ext uri="{FF2B5EF4-FFF2-40B4-BE49-F238E27FC236}">
                  <a16:creationId xmlns:a16="http://schemas.microsoft.com/office/drawing/2014/main" id="{F1BA14DB-13CC-6F93-9345-9855D0438BA8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66" name="btfpColumnGapBlocker546205">
              <a:extLst>
                <a:ext uri="{FF2B5EF4-FFF2-40B4-BE49-F238E27FC236}">
                  <a16:creationId xmlns:a16="http://schemas.microsoft.com/office/drawing/2014/main" id="{BB856759-032F-2BAC-961D-C7BBCA639506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4" name="btfpColumnIndicator424197">
              <a:extLst>
                <a:ext uri="{FF2B5EF4-FFF2-40B4-BE49-F238E27FC236}">
                  <a16:creationId xmlns:a16="http://schemas.microsoft.com/office/drawing/2014/main" id="{98DDECD5-7624-89D6-E593-A7EE77B48EFE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btfpColumnIndicator996773">
              <a:extLst>
                <a:ext uri="{FF2B5EF4-FFF2-40B4-BE49-F238E27FC236}">
                  <a16:creationId xmlns:a16="http://schemas.microsoft.com/office/drawing/2014/main" id="{F4C9FA0D-8528-E4B8-9C2E-0C9F12C284F6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431287">
              <a:extLst>
                <a:ext uri="{FF2B5EF4-FFF2-40B4-BE49-F238E27FC236}">
                  <a16:creationId xmlns:a16="http://schemas.microsoft.com/office/drawing/2014/main" id="{03423163-F994-ADE3-9FF8-7C49322F1E1A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9" name="btfpColumnIndicator578165">
              <a:extLst>
                <a:ext uri="{FF2B5EF4-FFF2-40B4-BE49-F238E27FC236}">
                  <a16:creationId xmlns:a16="http://schemas.microsoft.com/office/drawing/2014/main" id="{DA1F3A7C-D1AD-C11C-42DC-D09116B8E164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386533">
              <a:extLst>
                <a:ext uri="{FF2B5EF4-FFF2-40B4-BE49-F238E27FC236}">
                  <a16:creationId xmlns:a16="http://schemas.microsoft.com/office/drawing/2014/main" id="{93631001-1304-F150-5E89-7C336B8E3A77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btfpColumnGapBlocker164058">
              <a:extLst>
                <a:ext uri="{FF2B5EF4-FFF2-40B4-BE49-F238E27FC236}">
                  <a16:creationId xmlns:a16="http://schemas.microsoft.com/office/drawing/2014/main" id="{B76EEF08-A2ED-5CB2-9DF0-5A721140D984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7" name="btfpColumnIndicator293772">
              <a:extLst>
                <a:ext uri="{FF2B5EF4-FFF2-40B4-BE49-F238E27FC236}">
                  <a16:creationId xmlns:a16="http://schemas.microsoft.com/office/drawing/2014/main" id="{E73A78A5-4B3C-8AAD-5E23-0A0100DF8F08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468625">
              <a:extLst>
                <a:ext uri="{FF2B5EF4-FFF2-40B4-BE49-F238E27FC236}">
                  <a16:creationId xmlns:a16="http://schemas.microsoft.com/office/drawing/2014/main" id="{3643EF2A-1D4E-5C87-E1D1-4DEFAE126CDB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US" dirty="0"/>
              <a:t>During 2020-2022 Target experienced high R&amp;D organization attrition, indicating potential loss of domain expertise; attrition stabilized in 2023</a:t>
            </a:r>
          </a:p>
        </p:txBody>
      </p:sp>
      <p:sp>
        <p:nvSpPr>
          <p:cNvPr id="27" name="btfpMGChart788004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dJY2OMwf8mgoXWrd8S3Dpr8K8e5QDX9l/GOurOelpINCJLA3EC4Lci7vMC6fiShJ1UHdlzzodfzXVhfa9I7ytn+ieDLYpfDBOeOhoqIzITrz654ZFQ01+PRPEOo2Lr3ZTLIAFbu6GEPxmEsCjOq6MIM9YnzWCflMn9OrSbclpSmQmXBD/OeCDzNnXqxmS7IFTUs3fC5MpiOUTe3TXMEh0nt0B/yEjmOKukq4UV0H7eT3JBrqt+aIABGon5IBTXbBHJEMzU84PMCFdwRcs/nlOqa8vgu4zv8OL2OwvO4oiyANUqcu9xAAVKovKI2feqG5T98rtU5jKrxFcfotoQC2csfuME5Np4vH8wkPWYBhyNuez9cuQJM+IocTqiAGpqCU3ckqKgrqlfEtRt/nz7m9iJ9hqemW46QnnFiaiqsfKS7dnd4px1utO4cP6SJzx1tiWU0FzjFb3obybJOR1TFGbXZ4GrHpTq5oWZC9wBuXjsrX/YB4tfVckZyLLsMLlA2GpdSNzev5eXG6V7TZSqJMMRHMGdz54jJcUjU+dWtHsJOMkx8YQkA/KeayoQ64TcxISY6a/yVOifN27vFLLtXTYwssiG1W6y9aZBBeXKsbJRXSEWmkBl8j3A6NtgYndvsHdhKHBaOaiS4zJUUiB4q5Wdwjm1MoJRyQn2uFDpG6IvDSDpEhhNOAeafP4ztgXiOmasqMe+3B/fVUhjLHDvgXFRBaLmmO7T3VUMNlO0PmqeYr4/84DYSGBk+KRw3uB3C3cyOojfse221SvZDGjm+WBFP/QsBCrlk2Ud9gDVoiHYAHCK4XJWk+rDTWFUpqkfAZHPlQGYvtkrq7mbc7Sija4LRk5o2DqqLS+w+KHerCwZn4Zq+E2SDYgxitbHqyLfCiGWCRSC49qANSuFr2EprLraJ4AnJu5lVU+kS5lbVEYm2z+ifyJNMOCO8AdIm1mxTOZ+rJrFK0a/XJxfiA6zDrWGbXSQ2OF0pCQ298KrztE+StCwg9qBQF1ze84nnjrlxclUPFVnzUqEh36LE/oZb4kKVfTUPUVMpHB+ZKel1yl9PwZrd5GnaiUtQ8/e7RyBrq3/sJ8mJH641fXNo75xd24Vj0tyJw8d5gqjbz+MuV2MxM7+ognbK95hJ1vaCJbz8eZV6AVG00WWsSWPNpCYl+NedkeXUZxwdCBmVtyjD3d6jJ0T3UppAvyRlvHA2gyyaeRCFXKZnq6xG5E3vif9sIDIGURDSqfbtu1jftk4HMFRw76RiOBa03oZ7WkxpQWD7jY59afy8A0dJipAU9MpzFfDw3rQfJ2u2wnKlZxN2ZLM+eaemIFgntpcc2qvfWMrGPH7E4ZB/YcdGT5unZFxuT3deyx/eGza8LjvOOjIWiGctcG6pERTv+un74/a8qKNpPHTRjXeBp1d+O1Pr9rr+P8jvCYSV+3CkrTYzyr8hoxBBDXEmLz/0TLLYRT3uf6i+ap4jdl1afYyD27kDBUkXQXEokMY7errOj/M/oFOWOhW5S1VXMm5GcV3JitSjieR4PKAo1bdxdhR4/3hhG5x4qnPt0z+gIq/FH1/fuD/1iwXnZ4nbHALVOkIyJiJdLkAD7wesGnVdb/RYYZ1V/MHqc4dUvP/Zb9f8/dPA7pKR3qu0N+oLW3MotSjN6qDGf/OddQ3t8rp4POQEPJZ5hGnEPljSQAWR4nBTlPDw5w50MiLoGFHJeTcC0stVW5XsnlakK50JrK+P1RhKZAxvt5jy+D/k34nnawnzrfh7X+gdM8EstYlOkfyvkYzYYRqbZG0p+lYyo7ZtNlLQT73tVvlxfDdSYTclUDjF75heA8b6G9gp6Y3rFmkHKPon4Zpyj0I09PuTgtHgqrd3gsvcNToG0irmYC7PrZow7pKUEjc5yYQhFGFz1mgzx+G9lLWkrGPCo76XbCdXGtlSRXOoR+PjBbRSahr+fYobh3PLArv66/0n73B1HZwaToYORg4eoBWLgruOyTIA3sZ1piZA2v6Ur40ISvIOSrVGA6FOJTlbQqTucw+JV4OJkRNCa+ZbTi7l+JgGGBqHbWRTPvqyXZrX4c0unwR3XuNs5yA0rk4a+OBaYYOlIz5Eme1O55zJ2a9euZN1ufa7X42IiATYTsrkHm4iGu0CHC8iOym9VArbEvVCOuo7XyVO+vKlhZyKiR1/xpbj0W/l375/glmFyGy5u4RrdVBnj1GLhcPGOVGlsNhB8GU4Y32yk2+AUJVEES2Z6e8bAsNNOwzqt2IYMTXuoptW+tosjuBBPkqQhvWcl4MWoJ/+UCc84ciLutkqBlGNFfu3ASP93Vm7KNhLk4/Hswx9rHdJ4NLZjnsgvvec1yZQkct3HUPHrd695FIHEUdrZcUSEz+FhFR9jWPEfaa3hG1BCHJjAevTUSJ4qYQFWfGKJ4mIPI2RWmJa0vFo+kedkPCvQM6VNMl//27PWqcxDjNz18Ry2gmZQweU3+rw6vcut7702bkLEhSWcZ3EWmWsJqJfth4WkqcsM52eOOFYgXjSs7Aos0pX0/cJ0u/KBQunf+SYgzwPyChUaMOk6lWPYW6Ec2VdPQGtL/z27fgCIwLFHwBeVi6zSk9HAl0xjkkDr1+upsoBEekAa39x6Rc0QqEWPF4RSMQAqCGxF7n1yxO6Fr9/K7tGy2gYhs6kGXNeQVXuu3OktjHlHlU+IQj3Z8xmQTZv3JWEo4hj5qfCGWpaqWoRpfsX4WPYTe1izLSSon5jXMKcf+grmL1uBmROFSOgnAKY4poHBNZLXd3WwsQJioyfa/s6hhEfRiB4IbUfxRAmgxn+vLmdmcJHENao889ghkdnKpFuryYmhdCxAJp8GMqMKXBzgnuhAoqsvyQcIIduV71nXCB1C4CytGbp8SCv6lyuMGvw65whbHjDmXGFyBfUH5LfYoyeNYkUN2LCS4WkWQGvaTNm8KvyQhxRJIV/GI/lk0gr92upugzbfXBDtDIRYmA2XT/SNwWqjF2+3iqg3conXewE0LRzPGxM4jqUOjZ4B7M1rJKyn7PW2D51bu3APRNISrf6BH5aGl0owsrEqBairHtzxE543CjfDW4SesWAHmw43KTafTNOxMml9AJNNjXKZ7xdy0Q2lJ9pqzjVYkmry3sJ3UrPby7XH5r5sAaFOkHZmaHvLI//OrtyYq5WIUb8+Ye5GWlmLgnXF1jSPhOpcYKRgdyIwEUpMiFaYQFcjYCZeXAvp+sR2G7d/GUxFrMMaWQGG0MO2x7zxLO3FRMqgkjeRInyu9UBuJGydG41+D+n/bz2/A6bDcvsJ6Zq3tgZWhLA7uRYxE/XhWme7f9lYqtu0KuXpb4Mj1GN7VyeLRdx8ZbqZuUs2jZK6AnQ1XJk+cJcIZaz8gW0AuqCHOfbk0R1M2mIQ841PzvOV7X6jETyTiTGL9YvuwQcLGwJrfj9gm4CVDyP50xZjPyfdbqjl0BiurGLDS/SglGU83WygAutvGswd0tbm8GEIiiMHrcZJNe6hTVZxnmEjkxgCeQoY+nz+moClZCLg2yEz3QpKA0nV7YsrNZ0wS35f/bkcKl2bTeCKjmTDNVmGl6z1r1qVYZf1iNkQvWeR/D3kp8Ud5ni+aUKvgeq05vNCml0ohRo6PbF6dUuVqWHLCP8NTvnX2MQY41Okdr83R1o/w6ZpSsgWh29QjEiUXB7KF30uxpeBEFs2gDDcGgwlNafa6pwp1ybeDhV0nSkhPSgGCkvKDCgVTfZbU1WhYIXHCdTxZgCVXs4KjQNlKj2BHtpbeS20Y6yOQOJwas6axIIJbTLlKJ8ijI1ow7TuTLCazzsLbJ7UFGIete2e9DDqn7YykneVY2N2M12il8jERlOpr0m8p5EDW8nt1HXoM3zyp9K0c+Kw01G70xVHEmpjcz95DzgwnebjJnKEvGlLeZMxekZSQDLM+eoF2vQrfhAOQazpBu8XFn5yVpH3k1ziILE+cyPJed3qmZUBR3r0Qaz3uWUFnEZuvRdXhCfOX+dyLeyx0lrHPtnhZodV3IQl0RrRfINNfxf+DcVmlJfldpAcSBkXGLKtFZ+XKGW0H+/I+oRUBj+to3y5V5V/RqtoXz87GjsQEFYoZRk+znAxiFMC/oyNutrCxbco37+4PbTN6OOHTfrVHMYrRDk3Z/Cwa5Ip9khuI04pSbHEZ9JJVYFw/F3q0/1Ipej4L9Enax+BUiLRiSLlpFzAC0l3RBWAXlrr58DjPnv8opDw1t5g4VCtUCAeMikB7VJ0XqkeNZ7qZM82gdMGDz1RvwkaQ0tyjHbDkpuRdOccE+M2xa5+HWk2B5SqksnG0rqxX+oNB7YsfItdEJpLTIC9v1cW7ZxlWQywkocOLndhnWc8JL8acxb/Qx6cpbh/GHdwsbTgQW87p2Pjt65U8hC3/xuQqL/S/qVA1lRn1xiYQTKPKI/X0gnK6E5fzoqiy/8eB9XxrNYxhXK1sJZwobLTFiC5kap0bx++2mdcRZNja21+4mhuyLn0vQMXCaM8cHIg7X1MYyNY0DzssTFzONgqPlSy9EfnsPBtOnPBm+cPf9WqA4HOjC3ane7nZ+N5/+Rgivw71zR31WeHum9XNeJjryyn49PAAmv7ixwR7raxxck2T+SbPnFkHh4KF4tmsFjpFNYc0TDDjsqKvB3tNsjbVJjf4FK+mZiaOcthh4S3maaXua1q8B1TeWr+pDBDYgkDEQ/CX5YmJWyaG5Rtw/e6nUssS7KjKWv2ejHVnbkP1IotOAGf8B01ApCEsvKti4eeuH67dcmjOsQySvV4jFLrVhJF0IaUt4AzreCOQFKahEGnDnMfHC1nIYiOrDJcFT0CTZ/lNdHFHXeoITvJuIx5iXKTEfbdGnOogK+sI85ui/VRTTFnnuK61X7vR3/RmQkVFQkFaEUHqDpLYQ4fnR8NV7rQNHGWjLXXKnY+qXRDDmM7q3tW6DIn8xkEQhAwX48Gpzmcd/gkyAAzTxgRWcu9yqKSeYxSNhHKUsSpghYObRlHqmpENIueSMYkmtGBLIkzUIMi+JpVSN5kUBOiCgkSAIEMdA15CPmEIjbkaXis4oACJQz7Zkk/R7IVoteWPJOc+g364mg4Jh5FMnwcNWXY9EcwXongNsMX32UHDdGHi3lujDXhmTiTsHxSarMRacoMTcvGW8HzAicBXXltl7UE0nQnbjdtKEk0ftINr47qhIgBP0ghlyomhr2Ruy9vl7hF8pRJ/EHbr+4M6/FXZ3j1iVYCtYrjYQu2vqAfjk3qU/dK66xLVOYEB4l7hS1lRILzU9/ZCPadonZFR0/FwfCB4KJcTfTggF/Zl0klVING0m9SY8DpwhXZngqcqL3E3QrE32XD9MKscoH4r2rYBxl5YPN5dyxN/dYeChB4uuwnFvZpLpPKWTP0asNV112Hl/lI3unieLuLoPn6+oVQk6AcPVc2SBiL5otKIZOhgqpBKyd5+Edni5p8+WS8hTNqGdJYW7wxV9+4TfxvryfZTZuAYaLlsbImCNGYyWMc/Cxpn47zAi3tDS3sawGlQsK7g3hdCwk+Si+uwSy5O/xN4w663a5a66qMRZr36X8kr96hmqEWfReehlGwKzdYLj85UXQhWwzosiBuu2vkm4s2m5FXgOPBHxPYDV9Ox1PWa+PcOio7ENdc/skW0Di0OeuMs1DwOsqm/14Ha5z9tzwIFrfGEny4sDTPeo8X4V7MECW3MAjjAsXRqr2nIgRZGuLPMtVTqKkB5heOyoDDbdooMqFfuDdBO7PoFh0xDWsPOetCA1bclXVZ3n4b5bXxwlFuKvrMmEYOj+ZZ95F5f11I+qjrd3uHGJ0ZPfcayJH4bavMB4KRelSk9axeyrCHBdeMm5Uhy3R/1ZoME7CZA5YENdnCCfBcWLSqG7KuwQr1Xm478RPygTDIZ7eep73TcVAk6FyQTm8EdQzQXeguXmr47K/6rqhb/Chfbj2/co525JzBVlQAC1It6mIIJILVxZqK76GJ/WwTgAn/k2nKl/UQcooqAleM9weJq26EuVk3kXhp+sSF1p4t+m1lYjcLOILxJN4aueXry3FCqNsmzH/o3kmqa0lxAW3+9V4GeKLjT8KKk9J1kWfuXabHVZMRjnVPSRIaYmoHqxWQld9a9NuBJvj8IH1Ox7E6X8r9EL7UGKtnlA5SpRWZUHWKSFxLhCt4fmzwGGVRmHU+DkqQiOfFVaxv+rCfIsD9lWcJgNweOVrJX8oIkVPstl2kADX8i1pBOfqe24gf7VtVSW9x+gMIletOCSaNFaGtb5WTsE7kKy+Tn0wZqRc/9ElS2Qpqb7EKqH0kaqpdwTTcbQnbSnPJ8y5sxDij5HWPgOM7jl+Z/Ym9AP4YBUNI1h2MJnGI8q0p/AEGQ17Z9/p87Jp+RnUvneItp4LUSJ4oN9OrCw6QV8HcanMOCOufFdkKXIrBZGSdCVwWyKxbg22UaMHeVk4cNBSPwDNMJLTwua4XHKAsxpDAmjCuIDQdey0tK7TC1EcCy+V8ICOGpanr5umsEvOqBvNt167RhqLhJ3jZ96eWJf11T0mY+ws9gtXEhwMZrbC3rjzMLOUIB5QD8xoGzV3cAEONK/u6JDkJHHVSfrs8SKtX8qw/srigbAIiSxh2gd2hzBjI3Ra2WMkQyHiD3UmaXf4+maladWqHAzsLj95Aw2fGsAoD7dXU8p6JdBxCYnfI1te3v7Ouz2soV+t0CYi764nZh34cLbwDzvRtBsTZcT5B/E8hpJABPALRLCHjeY7cHKtGfnZ7vUzNDxlO3J+zdz15BPM1YjaHxuVtr8+n1e4rjwdk2kiFfuCPYA+twLKFXT5NfNZDGgfB5aWMwU6kovFjwKW5JriYU9xwlCI19MDNGxgj6UdFHbd5SXLcrAebvIh0o3dgtJpPWR5v21b6640pg6sDZOEW98RhNLtsjFxuaYA972y0dTBvQIvOnFbewumH4uGvmpS6scO2CfhoZ9dxohi3GFl2CoJqdvGWJlYnSiW+WCzG+O1E8j7wnFtHpZWV7eaSs3EnsgulElPB7VQtP8SSCJSbRPfs1PrkD57lMs8h5pZBnJ7jLQE2ll7D24ktSz82Ktk/QN4omaoXNmym/4lYGokSzjuZxUQ8jffI56YZNEXIZZKcnQDQ3ymzuNmJ3lq5uRnqVoY5saYxjt8hV5etNeBI7jTdBedK/pglRtGnVE/emvW5IoQhLgLtJgG2V3m5gPOrNYGh05XqlSU8FDeD0/q6QdpnlfOJzo9CFdeVHn8J/DTIgaFlMqLYaofeTBkHn2psMi9hOyqyAAw2b7r78BomZTKVubSZKyD2DgS6cHrWO9h1WovW0EDk7S1k3E1xGqjW5HrgU9Fs/qCmbbjwl24GQeqa3bwJeuewX16qQbPoLGTArBiuSV/qBlY56TyYfUY9izt8bP8dGDcY8Ng1DAAlYPEMzrBYIxX+4R9pYCLbPMcy74VOI97ukdFv1+ZHg3PNSywCXjP1RIcS29tFUenMc6EFeuiYGvlJ+6xhYngjxl4q5E9htIG8nHpshm2q0d3BwA5MxBvQMFAHOiwfLw80Rlhaa6pyavuTsbZ5A8UdzPjn8yFORhh1XwF7jxosIhR8q2d/fML/tIGwDh36tNkgAWWDpgZYt6DcvI/zLCmzpcj1uQOHRjFO/aNQdpi3mxQs+zvomtfFmvwingxnb2AiKjVTQ7t8QGITG1tQ59w1vYGfqdq/BqlPbHi2s7pvzKYX4I3NePOsQSgtAXi/DM2ZB/45TTomFo4bhbSmGOfKHrr3gTVQpXfJLJSomCeuo+5ErDhElkm9iEHZtCJ5NDavI2QSkJTId6oCnHDRLHaAwra3gVC5CnpieEWRt+WMP0vgM2Sw82I+CgDZwJPZZWIMkWm53fHj3oBwlI5sD6RXzvw9LVUvqnG364SXAdDkPNng5iD85i3twWeB6LDxMNTGeBhxgLZmzx2+p9KX/EclGn2G1ZPvE1Q+bIb9kJajNPQFvy7GDnoAeBLtDZymQ0+hF8R0e+0+ervfvY2ilBo735890aPuryUwzyp7of2IZOXSrKOcoTlPuIj41YnxsdIwIcE6XMMcw4pHND072//u/Xd7Mz/MEVgZJfnrelSOahFMIh95SM8pqMjSNP/dJfmxV7qX54SKW+G6jc9QIizwoi/CDThvctHZyelglTj4bWZq/DU451i1+z15hCrv7BJGPJIwfVSTexkcuhYtjc5vUXhyVd3zg9Z5fI33jOTP75JRAyBS9Nkw7WCTqXfKRu9+OE1M5b7oLT/Cg71/RdTIr2kLzRBQC2kgWOXvXWQBY997ugqSki8eWx5yLt0OAbYchVLBt55cgmn421qnaOYP0DzNY1Jc04iyCq6xUEnGRio1uZMRLs3ibYV6MF4NxHR7jGqxaSAcq3Bh9+j2l8K7t2Z1VlPNZqjRgi+fL6NgucizYxPslDAp5/nWnsPjy+K7zq2p/ws8pIKroDvfa8GI5MLXw7CP6qBkHMznJs6T+vLXzag4nJxKrA0rR9CfaywXJ2c6gU8pils9PVKo98iBLuBxqOQ+Ht/7NmehyqB87QSh1dXcyne8vz0YOJVwhGjwWbfa/DOfdAZ71I5DgLe4jeRt4kttkkJ68mJyJST0bvnw1cCYv0a13k3zDKjiMVNupKKKnw0fn4vc4rt1+o8c3AM0Spf0J2pQB8YmKU1fnSCgP9RGg3DeP0ZNMTsL1r/gKDdDS/1AW28RS7BJol16XrlxsvE0Nyte+SSXM4KcGfJMarxxL9dgrak03gHx4ouysX8RkG1C2s51YvlKsN5CPWegR5Egl7Yesw3zEZW39oLOjPZBPjnfAvVts9w1ogEPpyV+RivdLBTPlCvvKHCsngybH1Tos1+AIOjzawoDSUPohOEbShWXYonzBNsyT3Cw35Je3xTrhVz903CHZPiY/0lo9jJkWzxL35/S1pL7w/jOx3NgzjxTVtd8Ki2u59N3UCsFRMvLMIyiapRBQA7YFeeBOUmo6ZeL3WUWKdYafJFYf2TuPtjtTdX9VH8jPxaSSLCqLMSxSmy2qk1pR3lPgCEMEY5zM1b/2zLmVkWmp6H0+C7cDvJJZBPhdOAnuDNzbEW7T0jsTLrC6n7QOlGTUcgRDTpKnNYIJ+9T0EJZZYxcgfeiH6wdX3dGA/1p+73lYy8FWgZWMmaOW6Nzc6YAXHdnqMBOck1IpmtuBWs+GmLlbC/p3ivT1HT1/ki766biJPVzaJx9j9GzdSF/nLy9pc97FXro6IcLIg3UNv8LvceTa1K3Gyr+GpGuV58MTB/zqEqXu1hPrATFuGLe26hgMKdrO+DTsq4hNqbPVQ5uokRxcaSTFUjyJ1L8Yc1NIcfddkrpoImQx4tNtzBqI+x9CzU+lf0C2HTTIEZ8a/Wj3BlWg2jgGhcBMoGXhDKaZYsMWkIufCKBWODaW/ZZSfcmNEIlmnLV5CnUwOEFWNhmJnSSRD5UkwA/HN0Wc69H36TVInJibFhDG+P1llnQYdnrluJEZqA1E9cbcZVpOWC34eqlbkNbz6iQNSLXabSJKfWVlae3VOkBLNrWIRIt3gnvIdP7bz6+u/ydrRGVNjtvrfM1gNt+AxE3z8/EQcrHFmfQ3MKYEu9Hmc33T3GFcr6oLLujduKFdzkoxdRJ/Eq+McGkMcsG6vAEVqDwi6uEyJaJW26RYwJyXczd9qwU78AXL8HxKf4OooqEq2JZVxdG5yQUddh01KKvyOnEXn9T0E9qsPgNQVqoMXrIcZSYpST7dNvSbFtut3aj02S+D7s9QN71i0D0VteedOuCzZHgHe4EhZV3qTAGAV8r6Y4+O8Wh3NX5Na1WZeOc4NlNU1qhHy+nBJ61Ya4trPyQ3QKEzYfavH7hHv2Ez0VXyxupj6gJDZs+qBWrK0E7YPEkJTfyuNQAlOlCY3sUrDY4exSRTYeDJ8pDbIZbo1q7ojOi07HW/3tRBXGOyzbM1/qLk4kejgNRGWKoI52JdsFeamkqIeTcftOqYi6l5txUKmMcvp7fFg37X+rKd2p+RmT5oLCoEJtR6QVpeDKbCiHeZEo+UfJJ5Gg0tSclJrsGhB71q85Zev08gEevh0OvdKRt0wFFSEf8WClSBE5k47BW/IbJIAUlOCGP46XTSe7pFu15bi8fX5zsAr4ESCe71zxmls4vuuHr7coq08GZdtzdS1Ii2cxu8RSjd2oL9y0nDdTZ6iBHP4fz8b3w03HEor/+a/FgkifNI98p611lJdefTM2T8LITSVQJxKUfIK4LcKGwcsw1ssMvzoKkA3j+bGNLO5DyhnYUP8q40YyZYjB+5kTvjhTDEh0kvnC3OTWIXgB4Qze6COtd/5tAY5wswayhQ+/vrCZ2f8Cr0yq+pZkCtSvYWtq/Yhi6irHSwHv8R5tDf0IlsCb3Bpg+nXGRPluoJBQYhSGp2OFu6+Z+gi57LVQym9rNhfYx4jXSWogfWTXAClr8llbH8SraiyAhmF1wRfbZYRj8+4jjdru2l3ofQApJKXj/G8ZPs25qW5vK1PpcF4UtKuV0+4lEK0QFipWS7qUxQwJjhRvdOX8nidb9skzWJrsGuuAcTVX2cGvoGchWEVLieEqIcV+wKYmhfdJ1J9w3g+TdOtcgdHzMgFaacHotwmDCXIqg7JJvm04RwZog8XGXyLu9cCcsdsi/wp3sHCDCGb5lYzTmybYKse94Y4FUBChES9pHlfAnHAyplJmP54D94JQVGLxTWt8KnWvL1KKb52rUopYq0cGzQJ1subcAiK9GIXgqurVMyRtvA35mlMIpVQqD5VntZVoAQCgyIPW01ns18rjsSGDjnW5O1/PRxuwJe1FhrJY7059/958NjkIdsgI/zwdjnyYfm9UK40FopBEy3oj7AQSZoK5dovUUB0QHKgA+i6J4VAqPdqZv0mWloAwEnUkNoRg16uyUa9GB5YWD1KGhtyoxv1abQWOh2n3PidCGDmDLbFWgDQpnN6/RyyT0oTTehuRXvnGFHuyN3NbJ/FQLTbMD3QsC/6zpOkRDI77YzRW+RT8hb3VuGrYvye6Xr0sgCVHn0gV39gDzLzsOZkWOUAj1eZDmCbr4Yi97P7wWNtIC3gPzal0TUMPC4fQX9WlspwBjhWDc1HcYuMAyPJfqIj0TpqbKdX8LEQ7y33mwW4oUgKpevvtBybe0Rm+wwvuRRUkHzEsro7XPMr8sDAH7Bnz0u0aU5ex2u7AHa4sXUGz/EvF0QctnOtT6BPepbM8E8vyJRtp3LTwmVAKdnGNh388UVKmVWWbH+i9y7tmtFdkyRt0CI6MTfnQm1fk4bsvb+pCbiCnGWg7khxVPE1SfoEpUuoxCrIgykeyQaSvFYW1WLr2EC6oC6gToS3L/aK6EHpy4PLuV0BciK2aj/3Ik3rDpSxhyuINCt+Q3hYpu6VctDJbjVMmHsiY1ZtHu6Jsdwf3CciBBwgtYZNKnaf9YIYUzLmqe6guPiOb+4sCkILXriBSeKFsd4UVzznb/ksQSpAr2Ac3IMsE47XQlQixDb60OqBkX8ZQyJAStl/Ew/9th22YCUrGP9M8r80ISkka5tgVUHG9vqV4kHtPVJ06gXLcF/ON9U137ogCoO412aM/Ub8bIPE6jCV8RO+VfH+fLIqMnXtM/Iq85jXpzPI7wIZ+HDIkaO5rkJg3CvGcXaFctt+g52S05o2EJ9Ler7uY9BQgq2da71G5mOVMG9rr2vkxquQ4iJJsGnCT4M6ePSdZsXRxNKYCmtTWZIl0d5uMJBMXTQdrgyKe3GxVvcvpyIwPCuAKmBmHkG/c8R7Vei4qY9ZHWyXmIljnZaoKIRA41RIKQmG9c2ImZD9f2sRjQOd08ycU0El6C41nRXAAKJcZcTJrHZtmBJa9epJ1XO3fMwLOqfoF4XktrXFIyvuIaIYjw+hciLaYMO01DryJ4kuJ5HVHbQV0gn5imCWCTNSACFkjRoG6exD9eehkimvj2uLIHXMIfdcqw8TIGmLDLv9QJd7YW8zsl90Y00P3TceyJmzdSGLv+Yz2zNV73bwcM3PW0fbGu0sY+lbz/SapyVeR2NJuZNmlM0Key0HW6UC/jnct7smQU7ekIEzoPzWf81M4Y4RnG2ks5PFho0MIYdhWZcQOauc/0VTmvHKyZi/Bny4cr4IEA89jN1ozMija0UnStNN7258/9q+O787HJtoZwyPldHIeJbxUHL3GiOxAc/yGlXbJuefPw1y87owQdFEoC1+p7XUxwLxzkeZQNOAUuYXyQEf8QaKcNHEz1y+bvBD3PC8jmSanMMG04uMhN6KBMyQu092WOP2tHyLxc6bsoKxUCrlw5PzLm74XkbN5kTdqmmKrqdTuRu/a2+Xz2Em5g/ovagx4RR7BhOJB0+FbqOZozw46D8SuAL0rC0lcETrk+OloLslIqiRw4DIqzgBbdl48qUsxfEZ03hYhiDA9QagUWZ7SN9q+PFwI6kC11h8+7Njd3numjNWu+XdUA0qc421h5PcigR4ec7RXENHJhYFvIF+iHhOQoxNc1IbHjX7wX5cqdd1/hZ35+YryirVOOxinY9VE7EXyueOO3fi0nGMOoNgBCd7EUojU7w/oT+AvFEWchetrXgQJEwJlNHKqNKinGdIILcwwBcI9SgFmqtgjNLNr/K6rVr0v1Z5h+AqzsC9JtMfzbgdgxgoW0ePenoFbKlvRcY0LPcEynVPazYvMueZT5JpIFT244gzyZiizJmsyYhCEfGMxd7ulQq7lw8DRu9adApW/NU7NFuV1yIbfpffUmUKziGHMMazrQomjBdxpJWGYEAtdiRF+XghmKJIgGgguy0S1d2lHBe2cwv4McGYdUB/3XUq9aDWMuNf0hQxEfXH1Y1n1ItwJIrn3YBhH3y+U6Px8OaYFpi1GDBKhjqGK/xZ16ajsqpLKFala3EP0nN+KJUP9TL0JWWRRfFv9jtDSBWnvC67oLQxKzZ5tYnsNJyMo/adY8E8fmo30sz4dGB5QGgT08/0zoxEvevHENIi2YoVBl9kZMHR6PMprM08eqDRAHAydevlSqoEBbcBzCGXcjJT8eVIf5e7jZPNf/UDOoDcLKejdDTdYUWcS78q+ZPPJ808HPGRyFCWi3+HiGBK05qsGV/VUkg7aXfmUmK6X2vJwD1ERCwV10UM5brrr9v8RMbXJPijX7WCPghCppTJlmZDbhEWU3IEYGLrjTKwKm4Bqr2RKgCe1u9rPF396mjOD1xgXVV+qvnuFDrIjUrK8w3AUQ5DU6pmkiupF2N5ySwQHjgaffABGhqX2i62hQKeki/7IZWW7R5/BTWrERuHDvW6VLFvuCHMynRmhmgGrnY8hOOeuCEDzkq7UR9Y7UZefJvLbm2mRlcXqAldvLYjn4MIXpYzXxEg+XPV43nKjf43XA2NGGmQ0flB9FowulmXX9geM9XfZCPEDKDjU0ixOgBCYWxPBQyRqxzfih2HZvAPECjzTQXN5nytbioqx3GzvnQyHtICiRNQ0BC4BeI9fWD8I+CV3y3vsuri323Jy3dl+hOtDQg1ayJxJgairPl1g0ov868YWET3afIZa0egiyU/YnuSWL9cB33RYP+KButbkg2X0M5zyP6+1auzw0qgTXZT4Koux5W89VVDkOQhRWINgoI4W/u72NqCG61QN4Q3KUm3SMJYVNNA0Q6JjogEa+Ew+5E+ZktA4i2ySONh4muU4WcrmM8Vf4n6uyOTWh+ZAvPjK/zP+VPedoKFvZgoEdUeCx4UqT7PbpAzvaxAsP4McbxKTHGxyz/tIz5FOCYIqoLYoUOUc2Wr6JrB3x2z4/IefwHmu0zYjev/raGglpXQXPzK6h2o53pZ7RD56PkNANsMn+sw+lrP5G07y1qzrEluVpJZIJpfVBg/MiSDHJyjyPZbHjjcj9WMhFpgdmDllZJYtnjF0/eFiyktYMZQlefl+E164c4SLOM4T1g9V+6SFXg3xHt4fdGOaMjHTR5FNQDCbmwOyMB3GcbJsGP0Gd+byptG9/rSS+4PImT21j+gtTTQhD8TvHRnlI1S+5hYuvu+GAi3KBNKduzjPQivf9nbXr+7lIbLelazAogLnDgQEUDwPVqP1/Mxwp3AX/NuSbfC3OrHNmCRsfP5kaXVq+LylvedEJQ0Z1lGU31YeruEiE2oGoG2QsZRxYj3r33SsRKgI4bUzPt/gge/XGxR9DUiXMtT9javHTtGPoxCGsUNlEnSXQ3uqHUu1ZFPwof9kD/fB45fLup4Vp5/DHDxJRW7jeK2NtNrUq76FQ/WaEi8QLirObPHLJYUldKcJxp/gYZoB/w6v4CSJ3eNCi3JcE7apZjHGqyvmlcbplO+kFLk3yT4Z6MivZT9CCbu8AvdmPgjN0e3EV2lNA0brQzJLvtsKh+ZhqfuQO8nuL+/9R2WWUs51yHWrd9Cbujek12/hkYOODoCWOa3EwrJlt1roJ35CqDDSDYhfzlnk3K5cMb0HaAM5d8wbcPCgAwYsCy9/vTdKqCJdFeRfbaN7kcPESmuqKKfE1MTxASei1vI+a61eY3pLAtYZHaaFffW3xWMXGWoYIL18b/Tb5p6Vn9DmO3SW3aG0OA/2hZgHPeKydUl8QvjClx5lX4HSl1NWW1NqThAlI0HZZYCsVcw+9vvkGGYbOLv1gfdY/Ojw9k9ng/xwfpBYCHT10oGl5dlCD55wCIri09GcaEHgWxowoQKN0pqDrKoyv4tPNromBbmu020C56Ge+t78eHJE5zyUB38uAviYcHkRF3I/3HAtLRU94elKdSYQVcZSP4ui26GDCIbL8aLT+ZFTVQ0XVld6XAdlIPxQCCihgHNDzt64/Kk3kUZ4iT4k2GnDTapRmcj/I7IF8ijEPHv15T1K4CdCvTVTTUuUq5Co9aLux8o2myI57W0gd9m1l7/M6Zrn5tdEttIrrdWnv+UPiPsPYVqXR9gOK6sJdiB4a048v9NcYlwtdkvDYuoCjrYsu+jgUiNlzUbHC+ZpM5VamGY86hAjSCPSCY7KN0HIQDv0OLbB+z2dZuRAS3BKJDOt/Tp2ORzZWpZrTPIyu3T+2hjfoYjnLIdOInelY5PY7reC783pfS+vyWdhQC+NH3ccRReFonepIHmvmfExMmkzuhmFziumdnCQLKwUWkTTzZm5uaOFlUFUOqK0S4WvpNOiB+/fQwoAbvrXvXgZXxKJ3ex5EldeBLb4K8lHACrOY9tPm1qTwJ5MRhwBicELoXMbpDwQlMEwTnX77q/vdS4CFcT76a1ugSvmohzaSwn8A90+YcPEcFzBS3wQL2ZuTI0vJEoTYPZIMP7R95ZSHhc8P0ltQOS3Szp9sKT0zw+hE01Nqxm1xSwh/GA9z5CXcC0DmJzBVD9NdyIWsAZphECokdvtw72cBxUDwLgMZfa61iH1Yp6KjFACr/6+uayVJh2NM2bU5vRH7dF9/lhy4l1SyusirM7e6sk10TAXNVOTsouJ/6j3ZRhjfEAFCEkVYu+kRapdflWGzXAsTBamGjkAJFdbGlAYxNmYuqSu3rJyXzg9LDk0ddMIRebu6lJqV0lyIX1fYprR0/hfYbNAphjnMW1cEMkuiWYreXTW73cwiPaebTZh56aG8hiMgZ2Up2vts2+zC88JbUtoAmTEnAZI5zTJnb9L3QTKQRy2i+Blc98Op1eS1labayoroNQyOKuTRT5/nnkYe8n2wzaNER7MBNGxu8dkuqqibHpq5uA/tWpjWkRs2qC5KGjrUnNSGV/CzS8zz+rXto8O8CbGocu4N8wBeKd3PwpPyy3nsphKLX33MkSsbnHJBJsqrkaqoilam3DzoWfkI1ep+AIF7kIfh3k3Db+oJ8J3AX3vL87gdPYKdXnTPkMzqHdFfwtRvO54H+6nOHwc/+yHFaFeFf2gbjgy1r3R8PuEfbDHjX+dQtZAISvVF+fxnfmgsBUZwJTwN0bUT06OcwRHZeKbs6Svpm5+rCBh1IqVlC97H20o8+3etQv6dR53t48+TTEXSoU7sKvvNQSRc+XdBz4ddhrW9+zzQAB/aZNGnD/DpfUMtPZC0K1TRdrbcfONTm3dknbOmGJgPBgr4JsQSG1d7/TiQIE/6ODKooJIuMCHqvaNUlr21RyjwVyuXV6Vx6U0iMHjqKNzDDIFVNnkQlfhfI4m3Mpwnpc3XFFQEQbeDTPXbBn4x0S+Gw9mQ0CnKFzrcJePy4qy9QQsW3HYk7sGDNuohpXpmWKfpKNQYSs8vv723tgpc+9e2carJjyMSwZMkwbu1vyjpwzaKTSMKWnlC/RCUu1VQKTsrgPyFvhDR2nPnHjFfsZsIXJ0QvNrDuO2E1iqtmYM8ATnHg0ZKq7Z924e90frHX9BDiKDmP45mMawqm9p3BA7NcEl5TCwsVd0lT+f4tkzEzsmv2IfjfQQcXOZrH3qO873WByGmiKPYqckTdoZe/PuifxNajN4BIutLgZZr2GpMtmJZ+vPRzHYM0c1z/iIU6RZ6w4ZOhc2XDOCPGoZnIpMAqGC9dK3e6Br+VWAomKS4Y1WmCoLE5ivCTyr3JkyA0Xz9LZ55Q9HCGcKL2fAxLoqS7MmHp9qyzZZHldt6AzzyxQW5GC8o0uErke7dNdjZUxPlOBzNi5Fv2snm7IdiCQ/pMEXRyBc0d6AkMguglGiuqS4NbLIMXWFQcAdr35MjbMnRvABuIIWz4bLMg0c7DEtOhuZGh1aKpcVqLvW/RfVVBdePu074w3AZLBOcZjp2yBftRcdqbmlxAmFYhLTHUxAYRqm6/Hzn/roUOM2/rPSMza5TZ4M8CZZI5FGik4PYeTIT0efdoGRbCKAgDWDxrqvaXJJ562oulyyEF7c0svaKv64lCWqRfil/yyxhkhuQh4bh27yOgaa5a5zky3GKT/1NJ59QLp/HMUd+04rJCm8JHrxYYvNPnmPgEq7hbTkwu7C2YGfyC9h88HuZskJi2dnhXMjNbj+MoSFSL5uLk1R20UZJT9BqLVgIOFBko/eIB/6rcUiYt0Aa3d2eqoiqKwSsvqD3iWfZhvF2DKyF/HdSncNtdSp5JVEPBGPRz9uAc+PaRFDSk11FH5tvFXFiNCfWt0QlzDx60MhbIvLLuYbkd+J8r76X37Jhzj9F9kOyMF2QTUH+AfX5Yi49nrOn79wFNJ6TMFxj2uFxkbgWamtelIFnztKvTdFCfN7eItm3trZaq8WhCiny8BK1sN/3GEe52EES48mRHyA/qSfmE59bL+odkrEu5F9DKpnxgNL16ldsBI9aA3PWoU1Q6k5XtStMwrqD+2tEyubcNY9WyohefC/dkMUw3avOOSZyKfGPlrHXa5rBHJcmC+dRsvKMPajwMl1h5+9FSeJDJCLABpA4V5Nv3SQfbSHXIjPgwbukjHe9Pd01KJmnahH9TXXmEdAFOgrfJ9rJWFuz+0hMeYkmyToUQMYWhSSTbhFrL8W7mZ0jhW1nq0LhtD8HtDrt+5XGDWa+kGDSE5DbtZ04nzLMoMw2lUMHRWBM/IidY0GI6gvubGXwqbsEnpZGxsWKJi4GRs2gKV/8xgXIKtwmjrRYKJGraWH9zOn1uSJY7yJUytLJLtEOVVGC8POYSRheuINLMPICI+JXcwtHFx4J5E+SOZ6ItwJwk9gcHmXFVDPSCRUqWSPI6J9MHzfFePooO3dO+l9MlAGZe5z2iAcVQycKWA81qAA0PhpU1Y3dSYisP+z1qyv5NVWr6l99V8V6JejVTIkjM04Q4Xy/uBVzf8OT0KLWd9q+c38UDSdsDWehG0UpanciedQZsErE0gb352DBQNFuv2kgiz7AF71l0Xv6H3oUO/OMA/eu5RDWJRsmXao4/uITZzcc8LFNwGoflyc/kFMT+SrzA/oFPQDaimSUechrjbGfjxASo9OtP8PW2rqH/j97wMFZFzdrVrgDKqpW/DSCknZ8gCNHQ440DZInQ1b16GJOHIV3ilSlbkvlFMedGlA1Tml0AGHGCTTGeX+zCHRrnV0zxoga2d0PFKicB1GFDXDwhQcnp9XIQbVy6I5HuOQlLhhFAvU7uedNRzpcsZW97vqCsm6oDEETX7swPvr1sRDa9MnDkdTqJ1yrOM6YJ+CILtEViVED0E3afVpMuMmKi7mIFzw+6rJ3GDtllFGZBd2vUJruG3TStfouhtCa8t3llSKQmUmNjZy+iDdnmTxjQLKhKxRusI6rRkU6ePgUASfQ+deDrDKhRL9xmi4LsRa/ov8kNMsyUf/wClt1cL7WpWcr7we0Igz4k56u4qNlgPW9psiIiM2g7nnJksemBy9w4BPOrxNyEMw9AiiW/B6TuMynVBEFeZ4nkDtzdiAW9t+I31VI3ixH1vZSFfIrDHa8d8phcV2H75J+EMYRShx0cQqp0BDwqXGldwp53yyH7b0bOg3c5ipspa8EvuIZvI1+it9HinEOwkG05CauvyL6rjkj/zS5TMdTNAsR5m/FfLAkR19hgueO5V3gVzdmrSN88alLXxjYc7zFZhU4CmZrbxR7b9UrTG3aWGApI3tSyJBp6iwzweSi2ZrlqmhVi24gIRNRIUNUfIKwz84a7XPZngZidQSCMqvKIDiXeGnBRmLO0qV4x/6SETnX8uhLCWtq24d4VsfhgIiSR9BjtuKCP0pI/0SfsSG0Tvc06htS84vaSRM5PMxlo81EOVvbsR2MPR3JX1ZfU8R/VMHg6shfiZmYCLJB+cDzqjIBLwXI0UeZ3SiDlAnHkxF7RyaKJ8K1bsC86FOqC5elNFg7uLrTY+4g3umTOyFchmzwY8ckqtDTQBS5qFI6EY1ues0epXawZ4qW9rJQ7HXZgBJbZ0TIkI2XeZ+pSfo8iLw5nMjxj9guQba8Gq7KLI02hXLvROSkIb/gdF/RcID6nhhrjch/2PlVCC9xL/aklT535lLu5IhmMALdabJAhvDH6u8MMPTxzZ+4gHuLUGuqZNl6UNPbzdq4W0nC22IUnlUfvw1aI0+LouO9rKxGptbDdRshqA5e9+4pho68SQdIcq+vJrTMKn0HFFHSgPEgYIExcWJaDU/p+YEyodqB34BszAFmymMrkizDq8HdjunqC7JdK0E7z+f5poMij7PM4Q3q47Jiohyu3hk0rBnl2mgOjK3b6tWP+JP6AiBkQWiQag8/fRrz7gWMf0KuV9b/zfRFxwU8UkIdDDQKNp83PzLgLGyB2ZtdLnTCL+nqlr6q0k6QrMMeyo8ze8GWgASE/3qwI14tRvooeG4//InBtoRGiCteyqi0qIdWBkawC2ZsrIWiu4EndSpKi8aCASrFznsaRbUwHTur/Q/4QP94PqmjioPcPUXgY1+kCfU/zrMCKTogfKnxzCqYEE9jj/TV8rT/3zn5PXPPe7JIQdDd/w7RvaUnGMOYEq6iXCXg8DRAL4F0MtuBTXj5uQy1V3prPSdnz+v1nrWU22g6fQBeoJRM1dvaLLRvcb9xuV8TIUaFFAK3RORfu6cVgme/ec0MvJIipLaXwe3MNWlDI7D+XHOKVlMDYP1tDg0lt8ydu7zGijt8VYO0j3b/FkQQvELSuTR0k5tmIhJLQtbPLGqXKAFapkeQjmhje99N3CLfdvuPZJkAfRFqyJzZWKlredn4Wp2WyveZjpBxyjlINr09P6x9afl0BhfVsRYSKs0wX6BKPgTZjL+lgN0yqHS0CHmhpLoemrgtrpwekAo1HF476hmw91b5HtGfQXDTpceuPMNKCCqD85/op7Jmf6j6lNkKQqHk0nJ9033w6EbhQIdFGbUMveF9S/MADm5WSVmX6A4ILxvFL3hmPqgLT8VGn5+8uLsUNALQFD9kADD63FStLvma/3AzK5i3YdFcqUkqsXJMEaUzWofsCqqkR/RTIWKWNAEy3vf4m8DuDejBUoa/PEO3otIlNZ5t8GzHhXX5yPjNQ4lW2ZUktqueM9HpphfwcHMGIRIHW6JpgCcWrT4McJFU0kF3rBieUC1cGstxnlrzlfYrzf0W4uNTrnBYqfMwf/Gq0KG7P48xp0tRKMQrvEsc03V10ClY4m+USocsPwWYYWNF6cxbdVTG+si8rfRcCWMUFHVIPmT3IAfKilvRz1xo41e/rbN951IAzB+I0+MCR+KlVP1ZvMpcd/V2Ndc4qpdMxCAZ53wrJKHOfctAuGChnEKJ729B3O3YSRVASagV70KfOVDA7+kK5anIx6S6SA9iQOhBEWpqt+AMrCvv1NmnFbDnz5RWyEU4+SJUkh8v1EPvFq7KeX21XNG9tr+fRO535Gvn1WwZVMuoP4sbKcqn4672QLSD1IZ71sefpbaeSgAKgP6pa14BhyetilXLXY+rhVZ7lXYxbMYnTxEZ6bmMQpBj/VoHJ56l3NK7SS84BLQVDLb/EpNuoNAZ0uQQHhyPaIQh+6pcmMa18r2MHlbsT9eQYMEO8buviaWx+bWozFrDGn6CH645qq7QYZs11JzZhssLCBCNb2WXEv7QvmT+T/399cICKmrtY1qNjZ0McN/bdPy2L/8dFijrEalB0Vm0+BOh7Om2jEaIjDQx5DS0VXh0xsjEVnpDTLoUegM+5zqXlSPp7HibvLOJF1iz7KNjKOc6D/3ASdIrtH5FKfTERzK7aQ5ONI8AH/cYcD/eo3LUXwk/P5mDsemhc5Q3oPy7pjeaCH8dik5fajYyoF/0183Qhd9ja1FT+T5PFtF/J/nkfjP787Fe1uHWZ13WyFChUTa21FOtBYrpKN/hWjzFTTqoxLf9CjEZ1HodEJ7rEZxzO9kVEVsn8aWiOgo5ch+ISnYZC+m5sk9znzlT5hox/14tFnIEu8a2Tw68UCz4PNi9ZHhSMrTlQXonD2aFGUbO15Joh7g+VShdFuRP6X+zJIHwn8DZuYeBpQrW36PJ3E8bdHvsq97/xofnmJoPOs24nDDTWedWYbmg10/edB+NgLv8Ci+80lcajR8QUOKimfHQxnybWzPAtuwNVWn+r0DI0CTJ0batZndJH1Qxin57fr9GihLqIPSmfaFprWFIjHES41u5pA+2UfDp9FpDGctP+x1HPm3WrfoaeMIiJYguYRsUY92lQWMmxfc3gYoFR7lDhC2N4YjbNgNvopSYHSLI0iPowynVMqO3kuqXZvEwOKcoXjpKZE/+r1iWG+lOyOvDa69AdOwzgG0CbeB0/6+VgBJlJBnbFN08/2dHRBEo2QCUmQOkj1Nq0JOJO9JnKIwXM11SvkXfrlPBHs4RPZBLYZYtxb7ZUEyG2sCezOtZ3eC2XTlHUuISQSDGiph/ddmpCYF3tnT1lE4MUnct3q7DxNhQvuZyaEJUsZq2uuGGmb8VOsn5bvq1KdNziogNB/jtZ5Nf39RbCfErACMk+Njfdi0a32M4l0V2b8xbPgiC2SQFktE7VkLy+5329APVc9n+g62DmLyVQfp7jOGsnNWZpXu3xxup5rj/C17zGzk5xVl24Rw5EuPVCy4RQmKomcVzFgI3QTDA/jRf31FUb8jQa2MQfzU6+PVHT8Ezbra/qxh6JzCwh6WT65evnz0cx7iDqWKLOUY58eurCTcQDAxFywYT9vOac/7I3aX0AO0Iu68pUSJxhv15/INa8S6vkq7mrIKkeoviUCZfioM56G3lWXjnRMXpB/QZSoE/6Fp2oqUVbtKJlD1/w6oyuv1lU6Jdb5xsakrtbHy+DKHKa2T8o1eqB9Ihtbx5KJZL3Mu7/vEO4iciIESsFw43Nr31AHyr//tf0sQaDI9Cn2wjv7W2VsXXSzy3ML1Sz+WVCGVo6K2y2qhP3KI4udbvEhYEM3jpI+9EaIiXrCZL1yllH30BC/Tfr1U+Ki9Vy9WSFvwpclefDzlCPesW77gkM0sauhqO9H0rVhJGMvUZrv8wSnQAXHXjDTq25Kr4CbnkB73n+AajI4QvmV/ctxP+GklIYVi1txKjnEirmx1wvZSjWVnNE/1lRVlb+FIlE2+basLSTVA2pPLQgGwCFMHZMqw/x4Jot7nFdWIGP8WXTjWmjlyCrwITh475r5RpRsVJ+vnF8HoP3uI2QUXzZ6Q9Tmi6t5LArs28Oc/es3bWhZtafoexZp+rc4ynqBU91Qg7idE6uahy+wkRgmtna8s9YTDHeo0nxQFq7K5I8oWsI/Ln5jaZMo5vUVU95osK5oUdekza9wYZadShbaQHiLXB2Uzh4Sra9G9+SH14KcXjdYtm66x1YAfqFsNGNGAOd3e3XmsEABIEtIK7czqzhnL5cNW8aM5HQVOxXy1haamGCVIaqnK3UawOMiGbeapOGc8jlN/U6Hp/nT+/t9CRgkyNaep1UKCW320VO+8eXC3XZg+Ua5I5LoeYuLJ7lkRgud5LdBZcZcg+SyqPtdGqyZsd7xB8NFK3zfNBuBIdGsZGtOIobgKwz8rfHU5LD1SZjD+AoxzDhbHUGDf8Ba+e9SsNkcr/inaUHYPY02VxQIQE88jHinfmE9FXhQvrfVHLA3W/uSE+3DCleycgITRQ9D0zpH9Eh8exWo2Y266TmeRxpLp10bxE+KieV8da7H/cZ9a9ZDRGCKwwXWmRsJkkeBMcu8TOyfS3hAymsLHChQE5BIEm3seZPmGFZXpKCQnefbj6icCrBVlcvv5szfNjB0bxc+eZVJf0CoQC+BLmvxg0jDGeTE1RLrAAPNHqhjBCfVBTuhBhBOAELWqcD15UkSlD81AJHmR2EzjMgn8grpSI7SLhTKxnG92O6nmRTxnVQ+JKgrABQuzAE1fjx9MzbcttSz1UqXPI52YewTX0K/MhMIN/wNkueSupxl6SBwJXn2nIiu3sr+1oc3FFyuI9wDv+cagllLO8fzhLcQSekbtKY8uffS37VDQ4i+t779ZZ43jfE3Tnb51Vc5jbnDJNgRMlvNAROIi+FEHGbUPfE/8PLABn2uLISut/7b1ojRswGpsq4xgUEXlFfk4C3dPp0AoE4uBnGWT6oMz9jrlLuBwJx80N3LDRTetnelpGO6v5Mn5skX8IBJiSyZ97+Cov5peKmD0HqGwvyCMoiEflN9FzMhaWKhwKg6TwlK6eA/SjIIjRCQz/TpFk+jQPBD+Hxo8G1Semwqe4kP39Og3aZC3EGfKlJclHTDaJltEFg085Zbca8XMku6M7D6Y1tbt41Ev0d0avamDyO3YtUC4uDrIG2RKnYXGEW0miAnsVqQxC3kAuuz8/ONhDRo44crWUaZTAHIQNtk1uUWdvms0K7yTUV2QZ3mvF/FN/S7eVz55oPXKVX8c4AizPhjRJn6F9thvQMNF7+EFM9Ct24ALWbmPbN20IHZW8tEuy5V3CdoetIpboYYYRtM4V8GOjFpdqyggOdC0ugTWGnpgFXuBs+WCRtg2ihxXSGnpm59hL0H3dUYsL7qTBkQtA5rJ0+apLFsjm7iaS+0XDICyijIkuiF/ZSWyQHI97/rexRlR8vN1NSnk37YE8CKOtJpFSOmyRYbLCf2q9rs44/35uFLkBybZOkIsW8gVQaD+lExbX7DoWg0Lk2TG1HGmrXO5rKnVOl5lP0wdGtnn9Z5Rm8cr2yQo0CLUd+TVn1S6J+xDhU4BefoKOhMV8riBMU9KB6OBJLqd5vQEvvGAs3qhMbWQ8CfTL9zUUP9VRy5v5+StlnTAqw0JwlLHeMuPp+9vNVSm5Ml8hDl0myZ05IyvR1Htk1CNLnuW+lUVXjaWLbNvSH2SSRGRqbzMdPZl+541qSWvhHclnP8kf4lgh+vyKpBrIjn1PI/fz9MjQBqAGY8N34ednJGOiHg6cB6GTmWsyW4MlYzRx1TMbKwcDYur7W5BJoNUiR0/53GUCZekvHwWLRbqjXlDZShBMbM0fTEUeDAe0JA2H2ECSSGVNNvuHgXl39TGvXW+Teswf3pV1W2/Kmel59ix3LdG9MjcSgw3ni1c3BA7zSK6T8HN/Ck2IWONuXCMpuxVG1EU2L552Ga1u/1psxUA79C4lBXrg1KXW+f1cHfwFn6qH/dpeoUMTfcJq40G8bKVSeyr9TcIMTQCOR2oGm76H0VNoP9rJAY8p2NiIL47nyDZPALB0WEjvBIV3IIrEByNkKa2kD5Ub/gWCxFZrMMkhzgxilXHRtVrs+B1kCCeaukFsdp6Y8FDCcpOxPkc/HUYiO9pP5N43hM2DdEk418+rApaBCR5carNOU/K4peta2bzZKhvSuMXXSPyW6Hw6YKKv+ndvKnu1OM/1Ds1nIXLRbbalsxanhYMRAT4pPQ+VmpNygKHonIBwb62fqWDH/L4QYONoKAnbLhFQJJcU5xq6cym7f49Ek4r2iUkWO9glny5PczbXSzrOndvBrBHgWnTaQn5IOWV2nXv6HVfyYdQD3QzGqXYyZhyl5RumUn//PXHSky7LJjR94M+t3lIdiIbvuxCgTAyxTRDh+cVO+xQn1ITMGIhwhEWQ9l7plaVTOLY6V+QY7ooT763A2wd7dhfYtqmf84h58rjx/P7zEvKtLbyulRUq0MuXM2I0FnWjY/nlKA00Xe1V8xXuK4VmmY0bKNr1y81e2YttIiTG5ISNoHRIklCEu8JNx97AGdw5x7EKlZEes4F1NEygqOS6t6sdhX/yABU+5xrQ8T+V+60QF13802BCfjkm/x//cCCaRZxBYgh6sgHPkZyy27psUZ1HT13wJGmaKdU+aLrdHyp46RamfJt1TQLC+W4CjY0F89EDrQtYBkqJG5e9E++YtdC2De6X1E08ji+tyNcEv//O3UN5E8+jdoRXzOMdlqk2wGnRFmAeTTUvak+8gQ/Gk/49sMUOoyvPPtTSPJaWVVxfYJDEASoWoXXLxCAv0QD8yTBwoxX7rpSJ8b8MQa9Q5cDRnhnP1MP3uhCtJE6w3Qcg7nizggMsS+OjB2DsoALVRjKMJNbT1BK2ZU4YD2uFm9+sNxzALTKfIz9+o78/vbr2s0ocBHsKPzVD3UxcyCHD4pDt25Y5N7jnchUEaovmnbYhcmv6eTDVgt3HL9KJW9PywlMSMnRxWYTeWnXdxgtqessgukAvTPt/x9ttBer+b+R5fNGkdaAocG11WbwAr8ajCIS5U/NYcmF747ffaCETFWSfasuhQnJdTHTDUTS8zH9k4KpPducsxzrXRFyO4Gljkg2WVMO+hiT/20/GLiof8KGOzmWA80QJhAapZXR+TB5NSVQZwLXRCmfiOu8qt0ODypMtmVaTaoIr1xK/27ndXANlZT1aWA+aIe5ni+FWx1h30IYCqvuJQ6JqToP/K6ED3pdkkYAyKdfX40kWfFOFO+OW9OZbzEoxNYvKIB4UqIUzJTsxsfghXfz2uDbyVhBt+AqSIWYj3O9wJw0JPxFLtg4ONEAlFl8mkh6Xa3fpFzycnRA6O+EfNWEmvyt42Bn8FLnaM0KoJZ/XNMdaJd55h+oc7qUu0jLme/No6uZtK61F8ClnhtCCZ82WndylT/yKKQb22/6yislSg95JiR46OQSp3bMX/y6crLPDEQf73qngcn4tpOGv9ARy/kxPf1q7ot2iIFv/HkaaFBUg+SmwOvnUEXFPY6b6cmdvt6O+lKryeiaA1QX5vjyfrOXoAoRTqOUsBorY1yWX9b9ccCa9i3ClYV/B+qgvAQRjQ8Yb8l+TQqA0hDlU6Dj30xOtg1Blp+5LxOdi6Op0eff4KLaobzhHtiQiRzMMQ3W5caY0Ebud5KHzba6F78RjZjA35plYIF3P/kmZ+ZbkT6T14DKk/ddN1QghS/1jsYp1X+rbEBJE6zXcjt3iljkU0W2voCvEKbRsCceVU6RtImFkdONeqkw9tVFptp1ioDw5khIT7uKj5PyKWohsriipT19o3cjlOghTjuhy0n39dW4p4/x0Sw/gTRHOdr5UtHnucGHu3MpdT9lKsZuPAA+sBfB0gDSrUCGItEqjcrwC25GIDoBe2gAAWARw+RtWIz4Z1z5qkqhlVwseaQJNPEEEDXXnk/T6ybQWHEXlZOQLFiUxV3jhRk0dyORVcYcG6QTLTnuGSxOPkfD8nS2Ngidqt8C8a9rCpshS3DcTJ11sJG8IPFQYaVTLAhLtMP0iqZ97Aw1RFJZtAUNu/Ygni/285gZlQ7yNw0fooZKOTG+ufx23QQ2KiMthTmrq+AEZM4sANLXM77ZwsIiHWyDAGKpmfWJXsGMS8LeZAxSbItpEDB2zE+GWP2ORxNam8u3k6KzW03x6HEWeoua1JesX5LozHbnG4PpmebfaMv2VgxOq/PwfNX41kn399Lq++Ruu22nmbtChwtVzOte7lo/JkSKM0xMKxOdhs/THIiVLWi9+iOdl5zWRphachWErKaIXFs1hmCSVDzVzCBd07vx0x73gqfcjUtSWRYDLqpZZr3IXlRWvTXfimVc6CNKSC+YuG2tXtFXyMSl5TDACM/iecmXfJetdfLsAj3/AdjOKIeZBWR50spa9px6NK2jQANzD6nx0nCtcyw/UDSgjEHCizYEmtmOJ8THCGQaOqjiSoM1rUodcMCwY/DTb9EA9HFSDsghZ3inAezmoQ7e0q/58/Gy6dFWglrPvMSGc7xst2ExmXfHtriKKeMqidDqxw0W71hto0WYolVAr03zRPMHeDemt3NaFMhTwzAHA7OaoQNCcu1fHx2LI79suc0tpyNCs8dggjg18/Dr//fEUu3FIcWNBT3Qg6OrccEFdf5rUdfqL5vCZC58tfT4f+PEUruyeLXZcqTaS/2qe0tuf8ltG12Fp82W3U6E9eDCqHMZ1DDZb0YU0Spo9f6WhyCP4modMhCeoljmZ6DsmdjUmPR6YZgckPquoZ8mRhdsB+XSd98WAKIo3UfCVTMaapQZR96Yh4/Lcvl7BRwW5q45UHlK7DN0M7JnuwCgFeTWS0+CADFIVqHnqX44Rme2PFbNKtwT1rE31Nw6Hnq7511/om4Lx+s6o7uDX/pGzyNC2pKEYOrY3biDqe+VKZBmygsmY/msTpf3bAOmD3fVRqm4+/JCXHgnT6Xort7GtrnB+jgdyUzqs0F+7tXES02wYa/csatd1z3arjL7mr6fjfgoTDD2w4zcuSwY26dKaqkVBclnePbhu17J+G18hX0LSqoBHlpA2kxu5qqPiC2ysu9lXZXcByenTQOeHGt/pCSbFTzPplq1bojfZT7AsoO4LrVpMvQlbPJbsK9vefXGs90wOaCrNlFaFj1tf6rjr8AoGZLFEoWqsCg5q6J8AukpbsOaJqYXx8mL1pxalg4kCtsYSJPvjB4JTcoJw0Jy4Y20AneOL4Br1JMCt3WG33WutzPrlrwZgN8hoEkNqKTZESrJ+KkXl4/PUMTdIMQZf2Rzp0DtaB0ieCuM7WRHHDHINPysQsLj196BP+fSlExQviM1WBQ/EzShgFO87huN5kS1hHXChRXTk5oFfJ1leR8JdxzHzktxNHMON+KZyaZrfajCth70KujAe2aii+LG2GBQ2tK9DUedfTioeX7aeAAawGBa6sy/5pWfb8Izc1w+ksR+nJSZ0tULS12iS1NV+g9erNYnN5ZUF8TlMqAlALUIP9cXpK/FlgiMV56VQHb3rUK82im8/8WeUq7MlncCHXmSKZyVcnPvAhTVesgd09jRXHLp1qQf8NiBXI0Ggb7KU8Ew8ZYPFDG+/nUkRi20exzHCzCM4RcGr9xNV6T+GtQNDiN17dleI4T7hWiDHPUxVRCZtPik7AX/64VAO57qYGh5gCDPuBgfoYcEQKL3iKBSNuJz/IflgpIPOXjLnNG+ddX9TUpYfVeFscm3tD4vZBapgJIuGrfRztULkNS1TqtpsrAHBNhHFNH0fciUmZdZrV45MkuNzibtqAyFfSPRk12tmU5IdQgt9a1QLZ566t5hBrRuGVa/gEb6btsNUQ4isLxSE010hcp4HRPn0fpPymdlvJpAZKWeB5j+SPZWw5WkPISUCdGkWonTuLIPaODBMJyvtwGt7afVX030/tje0jLIIm9lW9D/JTyWwlIytySLoF2OH+l+JYSLCbxoWJdRKKQcsF4WhlEAbeapnmihK6eRCTz0Nr4Ko80inBc+KS8Frrqmg7GaEkfvbLDhK0ummu1cn6Gwu+4SargMomSPUFZU9SeoKvX8bygd6TewvMr4R89DeBcqSXHPIVsMETuA9CtBmLWPWOBLAamm0raPFs5daALTPK6Wutk4UHSMm7bNZFdxCNShbBsFfGbigV1xszGvbHrnUDhXPSd/FcmMkmgV6ypftx5C9GHnSp2gJOu4RqUWgiRQkWBKTVhn+lFOkn8KJ+V6XIezpGkhNaIbr85kfWWNOhlOIUoVeUQLzQyzO0pA9WYI0xC3w+3p18YOhxz3qF9Q68+D15XkbUR4STEZG2KRv3w/55T97TqA3wI7Ec0Ir8id5F3CMtULtA2SynWV9KZHqmD+Ki0lnkN2z21CMHB+/KschnGAzx6SCRBGW/MacSz+UQ3xhRqCpdjF8zqKhNwqHDibnHsIclY+VMwp7iOp8eOGK+DmH8CtjHjhDZxwbdh+kZqHTf10jx/gbqlHyEOQbojvQSP8PrlZ3R6KKyVCw1V2Rc96qiCvEDyi0K8ma2ErcziVCe0FrLUK2hd9yLgc82uWgA1KuX76VpwSbSmuJpVyVXg9GW9EA2ItiLVF3KEnXilCYtjzWGgIYsW06wQsWNvDqfCNQyogGtIPoKodYUsSeVITB3G+dsmvzAqMWOxYIrtHWvm0pqLBWa1aBvhLJzYS0aJKIv4SGHrSUb1uM448U95lnWaGMC4PBGp5kI46JP1bD6x8jdFWRr5o8r7aZ56XRMk0vXQW3ssQZ/mW9+Yd6C3OkljpX/WzIoYPeZwVZ6RIxngC6dNsEetWa6AaFxLYFh4cp07nhgRA5gKYdlK7bKtaqN4q3qiYM0AL68uClEXIFb6QCoGUPvRBbJF+fHZJfaz0Znfyl2MBzPBf6fZkGzPzWxwsvhbqqbtYQKE4Ns0PQASZsnD5bev8QzjEdQSw8prH0NJWJX4GABFORtAVbRbnjJ0ojJmmFA/mOiA+qvOJvfM3/6DMskzcvLv0j/WoyHoZvyKa/DAUkmH13RIuUpvND9pmHp8Ot/iFge87dLgXW6SgHVH9k+yHBvMOjJJ6zxam4Zg+RcpBd4CUaJ0UH37VCEQiTmbNthJmR00Nak2eRUEQ5fuhWt2yhP87Kdp5Zu25EizRhuYT+MSCrEu4IyM/HrS7msRhucX0dIgPYA4F8IcZhDr4tfd07jMlx82VIT6nuXz/Fy0Z/vawzMmhr+IvUE5dpQ7kW5gbc2y8J55PWhFesKl3ImDY9ITjuuZzPYAdwmUEYx0zHoRyRToxKFTQ4aUAdC4ddY8ZF/uJX2xbUxq7KwOMi4xlSWHSknTQJ1d0mKBz7QxzHHwoxrbeFSgMQbmLbRnF3U9cbJOTBDOwhRdAnWq7yQu0iItnX2LkcrgJcNVxakMhCW6v4nHi1WGLhPWl09+dxoV+R53dQU8rSMcfI3JT1JSh6+9n0svf4qo16I00QV7uT3wYBFKTI8BiIqBM3P1JzFmNU2vtha9Fj/8uMWm4U6lWvHQp1KZZYz98wCWmYkXjkn8veOSAjwxzjE584BGsPogK57GwiFUrhPILtGZ+NPZT3YIUMFcMjaXvMOPn9MwllUnvVRZ6/HwSi+fXXhU+dNGphGlVYnxEQsyqVtwvxa3KN+dGjKJ5Xo734xnEhDr9VRHUyQUn1jSS3wVu7A3t+r3geO2EY05mphozbHygW8JzjzmGWGblSW4O/3TxA8mYG+13KooEvoWfvzvVQH4dUdRf5nKpqlep6gfuaickC0AH71Hk9SW1UXLmWJOy6KixAr4HMzLq21pGAjJ28vakxZXPyPfktO9/LDa9wpEmaLrIXnVmDiiQvUW3k6GD+3ox7qMBW7AXrqFenpVMhd9WnlCj9oD/L2JmILBr1nZDF0Z8+S7VMwA1hBOFZygKqxSU1F5NOEMHa3843lm3qIykq1gy687EVzlx/Pojx2m7syrcwnLJCF60bBy0T1eYjyVYnCoRCf+6EJUHqCHEKmVC5ST8TB5z61w75gvHsgYAFcPr/k5WkJdnLnjoXvk7uOaaiVisCwFHj/tBBrFkMt+gww8obu3BOoQwJWYQNHteRwOp8ucK9JyJEVKWTz/IWDCeYHW9Nosd+VB6TcWN6VRDAYHCqpaJFZHJf2nu/i9IJumhe+jBWToyOSCK9DfmaexF2mjjQGO8arUThvINDJJJckSs0kENpM1QBYvpDUzItwPnFELr4rAfY2r8c0tJjHMCRhpGjQL9eEKf7OWHrTpADaXqPMHcAW791iON+okQazoV4k7VlaaQfwoQDofJ1RQzyhtaZfdiQpdKj9ZvFXQUmpnILhWWpY+CY3fkFeLz6oYP5n6+4pm7IdKyDdJx+McBUkXhy1Vl2OE6kFhWO5B7c2pcSmoj7iJLq58TRXKDPmU56c8bhSc1TChrHrQ4najUn1EwajGYdqsWLcf38YD7og2z7E6nwIaS/JbXdKOY5kwmyiScQ9CCxZwWLLE/pbB65AmfhGXrr2xjgh3hp2xT5HL1r8A6SHzOSJtsgTerT3LJ46GPpv3gUPUQP4TB0O4gP50XXKFXrfyZVQsIHmRyan+w+98MW/QFVLdcdqc4bZ42z/YNaEDdN/c0UCRaearK5WdjYWDqD+WbjfWahq9iAsarp/aQ6D+aTvs9ACsWZhJ2W3k4PV9YAnu/zXgtEA3fixs+NXoT8xGenb/15gJO5kWQClhje9seTd6xp3kR9umd+NSFJ1sfugKeDPpxMnc0umxVZPYaSTX6E606fT1nwb26WX3p4QKe50GhuFQ6Gg6iYiBnC82DQNGga56v5ignA/jy0Fhfpx3Sda32KrcIPL/5ngMiRK1nXtFb02y29ZyDN7ym7wnnhVDgT9yF2rt+R2gwP9yvQn2AgCz29KUVKV+/eGM+FnJLV1hh8dYNAiE0usulbccHxUlEYia3b2Du1MX/IAdK/thqU7pZ+Bjp/vRfZWJuLKK6W+/soa5h6LiJ8nr6M1Fg1SUCr+4zlFUWRExmkpV92HJjW78t+7n3AIo5R67CKrnSZaPElYbZ/Pm3cZv7XE0jaDxisNfC6vNJRltlTWuSMJbY35EFRkW/PWvCz00L4jX4S6/2rLqCRxk5ig4mZX7NWDr7t2CrTKeew8Gx5E6KNnLnTVC766/IVYbS8064vwWvDZj57/XhQ0fXOUBKI1VRQAi8r9ZCdV0lQsOy1BgJFHU35gy8nLZtp5H/VCGB2xdbqardN9S1ZiXBYfkmf9GmNN15dk8m+dAmr/88Po4LDfShBMB26r7zj7ATjn7ieoT3B/3165LEOA8NJA07rZkZ5ml+t0ip2fpS5XwHT81MvCmYJziu5rPAM0APtLuYm8K2yCXNFfQ95kYjmLSMobWMwUyQz3a0bhQulJkHwKUDDeBWjlt8RwkGqcdr1VWyJ4GE0+ZUFlm7x20cPmwOfxdwUt5yvrfP047MmIz7gf5C4d6eSMtQWNGgf1Vi13nWVwBGrHdFdkj5O6Wqc/PyKJ2rZIvA4naEVJnG2uGDLccmvbl3lwD4ElxRkVelzY8s5TDiYnVegR7VJOarfV1nlqsZ2yquLL0804IhaK32OguEmllYd+USdV8X+qz8DutmMKRskFWllZV2FMSUiF6E/gwqvbvAQtzzUvKzYH4ZL51Vi66/wfkbEmKl1O+u2sSn8ADHh89H7ga/g96/dVCgfy908t6869gIp2ZAWYrcYYKqD7ED2CywgQ/RgzvMwKLzE8wfirF+De+ytG3MEgDrUfd2b/E44kyjTMqpGZJetKIURdtwgc1AZJYcK0bcW92cPpBDwJLgyE6Ou0KuPOWmvig5xk0Hy/Ser1CPO1Vy8GiYsLRzRJ+co3QvRtgGrlbpTwUnB9xBaPvHW3QVBkf4SAOyvGzIvGzFaJU4ODk8eIPHN1VXXfLsDAyTzYndHZQR9HCZzxy5UyaYEIvDdT82o5/lZUbioFGqMb8ZzwVWZzttrCNY0ftfZGQIT9zGzD61Elczbbq7K4hQ8Tqmzihd8RdddO17RZFhMT2TOAyEjXAWhmZ5o4RlqFWB/HKyps2RygB6k/hyTC2k1y6tGq3nde/IOGKGKAWNHvfSop93WQLdN6uob7EzSEk8CJUNREQZBruUwX/p/ojxjegCMlWzxRnUrYBehakzgIf1NHBAp8QLUnMbFH2K2hZM4RL0PiC2RNgc8uiuc8GggY4TxncR1iAWAuO7XWRX/VPHQf6NTQGcX5zN67w87APKB3Y6p1PpEhyg2U2OICQKKn+a3xdXyGQou9aprzzcLOoZJ2/KUlCpSmlX76uesyD8P8qAQk0XG8SIXVbp3y8tIWboBYK5VHhTXD95xSgE5BXzQoDe1SV4IIMs7u/+P4HW/rJKkRL3l/iCUbFEEXtphPscMpPDgPvGwd8Hj6T+4ZJVhUtwZQ1/kdIER+Aoo3P17E6oT+JH7pXrJd1sdgPyAkCKwNpjQ0ZNnPvgbUzZy60627Wd1JD2EY7V2onlKEJzQmyR4EFT+kcY+Zm5dHF4J+w8cXFARCan7kEpAa/oB4Y2Kejek+jpu+8b0G/QwGiW2eurFfAJJbEWO1rF3XVKxaExaR25L7pz/LnA+7vKi1dFPLQRGh7+Eo3idWJEAV23xMYkdX1rKZkuf6Dy22AGE31alxtqLmJeNXnBWwkU6kE/tGTgIgPd3LkQUzGbdaY+YAmcQwqQG508t/P7cKAdKZ+Fl37l08/9QGoQR+j1uZMYy4C4hlP2bPsNfCyr8kNqYWJtr+pKE9612qGjgwZ/X+Ebn6iUfjCId3sloMODPN1hyIfdBtXjBbt0YBV0h93PVl239rtq1z9hc+ERa92hSvL4R3QaCh3buVRgm7R8CLNOpkO6Edxx6XflyLM0DgfirHcPTXvEMqzF6odhCML3C88vNcoFRw4wdym7wrMRh6ALSjaTrL8ChOu5RglG3o89ZynuWQH3kV69qiRa98d/afz/Ru7ZlzmeaxbFEw2KFkH5udmspONubZXja3eQoBSAN+Gn+Qbfu7idjbMe3ibJCAQSWHnJlJIgT+Lrdie6csGw+InbVKL1H4eBovNZFRul0vY+p2CsxrO2NVt3ImIWKcwdAwcTHFaaAj/6YNFx6oULwciosnXZerWZVBQz5xha7uX/wpQmj9n1Vt/CKFvnuHc59uNAUsuRO2PjgpT2ejqmibgte7tQG9Al3LOETx6ObI2uDDR5XSUivbOGWRBaqKSs+cdoqfTL1P6/IW1FOey+atlm5/JCxba9S2C/YH411X0YBR7ksb9VwSsetVs6XiIhz8wY3IJEXM9SX9QBY1U7YLdfADprdz0sWASBBmLxz6IsporBHG9U2pnWz3/3wJwGh79KktMKRx/yleyU6PCsyA1wtU9Qgtro7O/3Jyq4aYXXrsvYyehPbB1V0PukTKFkKk3l9pH0Olf2cYXX6NKFv6tD+3yXV4EJPmUZLUU1Baw8J65JdeqsQnHXLKjujbfzZuyXOXDMlT9pwdlu//dvmF+HqrD+XItfKH8YRd0z6kiq0RAzupVu56EBZxwv//1/sUQ4AD0Fl0vwP5kR0LDH40BahI4nhH4Z6HStiZFp8p02FqA0X8l5zlhjsTfaX61UDMBS73J4sLTuNambPWT+ODmgIsqn6B0rKBCiaR/dwopYsbsg3EL9g35xaHymweXKNNQ4faHWg9PTHXXukPT5Nziv0nV1N9IeDWH3cmvsy6lx9VP7M0vM177fpMaW4xRkTrjAs+x/ALSmiaiaSzHOlaNED75dqMo46peNZgKvmhDXhVK4FH4w0XiF0e0GnRLyWJ9sbqi9Buos53jXR4fIhV3W/yluwTQAu0U2C7Nixt7iKcJzLtOTPC0nFkR4BKqlCRhqYg8kLrWBS9Zc/Njv87Y2Iy5aHdIcpytF4Svk/s6rlaLD1YbSeT2qDCvib+buduaM+PAQbUYnifxKdmyKEatewCYk5wGpHvChdLWtaZ9SkLxnz6GgqgA4UwMlMcvlaseU5eHtXWnG9q0EiEGQeBoBe0kIeVkWcNclyzPQ9p55JXEbqYUKa/gpvydA1G2DDW/3WV4E9EuNY40L78ENSrzLaU0qJ3gn2gSCsLMOfx25TOd7ll8OEoL93PwpS2/VAJ6oJkmAdOrnI9S5UFz60qen1N/CGSFFWWLCn2/JY1IIpdSIe7Z7QROBrbze9Dbt1KGtEbNjbg0m34iePUjX50U0zXlBqvEAxG+Uj0lZDlyAxmu9PHvxr1zMzkpTllZ4ETIhd5/VgCv83rSXwYStGG/fG2n+LFzO3f76fjUxaHkbnWfeqgIkd8JM9KkJxZjpfl0eVs/s7usFt1G4Aaai3r8D407saSq9Rmb1Zu7eh/kDHNpSz6JUc5r5zwa9wOch/jznEAer8nc9G6t12zLd3LIkRExIOk6VgWaMbvPnvH9tS9e9mAOWgziynPbUFHd7LtEMK/CEv2hWDQU8abPP3T1rdaFAXA4u7jO+U90R4BiLwpU5ddKxHK8y2N37DD4jSJ+mSbMnKs8Vw8kokV3wztO3ZkX8G6swvt0dXB2dul1LsV9J8uNY2RP+AL/7ZWUL2HJPsr2W4hB+XfP6PZaOMw8BgxM9Idc3GPjY9Xuku34GhB7GWJrB0FMCkleYCfzIFBC+M5oz/I7yQZkKZ7drXIqlxkn1rziiAAoEk98+vmAEcNQQlKD0+om5Kj0Fh0q3HKhzW+NfHvHM+5/9a3D1EpJiA4NGb22wk2sxXgRg6/trwwJ/YhQRJoVOk31AtIZOXYpxzqZFVeaSlzhwDE8NYgGQWsd18jJ7UPVdOPKzwvgGZnpNe7CoFQbXoeMJpyTbKuJKSQroMbfqLuf5uEiEuT5AeDUT2KGG9D1NGE9PkVIwfyd/yoOEHjX4IA6nQKSaznmoRFpdON8cSWDS/NLZnb4DMSOr0e6XOM/aP/18Dyd2Jcll7NY5Mt/5kiSl/BbgXx6cp5fi1DedFLAXLofXFsh4LKvYDnBUrizRdK2xg/1zao/UuiBlVbeOTEoJTAXNv4HtLfU31PZMeQ4ZePP7zitvE+21lKjDHHNK/G8AA3rGcThwPExNGgHp429gJYk3zXFRXoifvrkGekgU73U2Vkoc2v4mnVCVStzeaEhuIPUP9+Wdx9QvN03M68mSoVqc836HieRbhCKUymS/mpzk14S3uNfYeGSUZuim0QO7CqDYJMBE7OsYZLX3nnzw/BHDYkWZ/WQP0zKtmsyc0eaJ2X6C00bNzxVhGS+xVX0rPlBFp/PWKG8EjWyzi3JBLZ8UKaDhBhtlU8r1hVZgzuVQ75Fcy8rYvSeDZ3YUf74HZRQxAcW9NWwumD3c/LQ16zDkhIZhO4RmiFphgyOlSO3Ev3RXafl2n+XqJSUIYzvc/4ARQQMRvXrQencAuytHs42A58DeyUqi8Ghm4HdnMrTWPPJYbemRmEblt3Qa1NuqJ0022OPpDKgLgALZQgSmXkW37slhE83j0Thty33pG1fZEptllZL0aPy/0yU+NTx19wkcyx8Kr8za9qY5L6RXuJNUseQcr2U7RZjf8kMLulxyzwwdnLDzLwvA+yzLVGNkLDNBO/ZV8zPsTTu5A32i5lFuA1TaVkOtFi2I7YYuz6RVuQAroon2LGCf1N0939k/lMMNWAynAEZDlk5qq0b7l36/nsbnp44Renq+d2wmlMZ0Py88GIFVZU6DJ5VqC2EeV+OGdkHfAb+TD5m4ACjgyBtimB/gUnCXXB1GlgnWwt2pc2bNePDpocyV5sxY7e+6ozeqUPlpItg3UPXu5rfmZE8dRhbtku/niy+EGuLQY28RHfXat+vZDL5cDY6O+EhhOXHxE1SiNw6Q4X9JHCE4IQNqiAge2Plampm6hUtug3lcXSw/xQvN0c6tH1dg8QipW1UvoxxyJhUY2zv2VA0DKr4mEpGFPlvlPYpc6yRsHsWt+3VqqOHpepD5k4uauCs5yY3d7cqKkzuc0jikB34PLELW/DF4cVdhOFxZBGaAG/lW6DKgia8T0CXFFMpwBnZb3oJAUNweXL0GQwr+LAzWhK27fYMAuUzELy6RmkFS6tL6BAdzZxVwMIO0Ny2lxtiRnHNJawc/yxLvmbEig5wPsh5kLRzpPTv8aaOVZXpWUWXogrlB4Yl5iHslGY8snDgB08fJ2PKbTRjb9gTa7AUL9Bg/Di6A1bs9un35b/mytf+qps7GJCf+882Ot5mcWowHzwet5bUoaU8MG55zdfCXzYwUH+om/uLjaoWBzXuqHE4zf2zPxpcFMKDQ4GTr0bO5Y/gdPLec2J84lZaas6kr8tKbHlKygmRHVGtgchyMJuOn4tTxqPLf7eTAbvJE/Mc+Cj+rLSep7apm5Q7o6zi2MlfBKse1N7w==" title="Mekko Graphics Chart">
            <a:extLst>
              <a:ext uri="{FF2B5EF4-FFF2-40B4-BE49-F238E27FC236}">
                <a16:creationId xmlns:a16="http://schemas.microsoft.com/office/drawing/2014/main" id="{5FDA528C-09EE-44F4-B0B5-599F91D5D8FA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395288" y="4815191"/>
            <a:ext cx="7442200" cy="1484062"/>
          </a:xfrm>
          <a:prstGeom prst="rect">
            <a:avLst/>
          </a:prstGeom>
          <a:blipFill>
            <a:blip r:embed="rId17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60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6" name="Rectangle 25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UcjL8kfAV6PVoSdURXX960ZMmHu3QTpEU2hrD+ylEWkT5tHWtuyifORIUDrDg5v0fVeX/xkuLP3ETFgBF9Ds1NNnhPsSfxCfZ7Hk/etvcl+ZzzAcLORLzQCAwxFCR/GtHYfFbtbyCZAPQ9rs7STk2N9aAS2NcSR2BiN+urYfVBujU9+9DS0pmxz78fcCqUWIljRnKhKIP5DcLSetYXi/Hwgt5pEYTf0UyX7Ng1sScgCcsNNhDPva00r1aAPELa/RZwh/6QPgLHZZNTcjKXG5maYJfCK5MMxo8ri+Y8SCYS7jmXQawJM8eWu7FgWJP5dDtsdxkpvOxdhev2cDgmLW3SwGxeQmh54+SSFdYi3vrc4GFx2mdJ5mQnqKg8Cn1BCGOpTDOA/BqMofnZdxu2R5JVfk1xWx40GoQDO92ik9cG9qmAyo+v1o8wf/cWdWe9t7iO+N1ZqfsRleqP/HkvmS/80S3Cz1/05IZDxHA1+ll4LoZpG008INhrOuswjqVawxj05LKZkoQ3AW2ZMf26BQsj/K/L8cn1xKnDV0TZi46nfquZcSTKX/h20AF32zq9NQs2prdDE125IS1JL3Z+COWXX35vnbg6TiT7Z9CFoT28bQhJvrVVqT0Yg5wYOM5N1O0WBajv0WsEhY3M7vRPuoiWD8XSARPIdetzZJsN9bwVcRdAAkV08QAaXjw0Rxmrb6sbWCubWJ/m3+OZ9xgJ7DxK7YLPtYfpIEKo5w2wMqyY8gNt++hlJA9rXYJpwP6rFVhXpd1odiLPJ+qDyzaE8W2Wq5TxP2GJcP29DstShfp73jYkREWZUJBeeCs102fOsbcDZkqdpqA8KZGntb1Jsc1qJy8q9YKW0jI8CNt89cACvRAK5f97EtvbNgLucRcW3oltZ4Nmjr4OX28jirG5HC8/Zc7uPCiMpiS6r9wpUBKhjP4PJcBjtqFbYXRkSOv7ac5DujEKCKKzdHjveD5tass1yYNEeK/hUJdTTu8TeTdUcr8c8Lqa8y16hr03toXe5VXrVxvygMCALnvbbrplXiCkG+7S8vfp/lGCf+a6bH7IGAKUoJQJkncqBLV7ddoono4TYQtQS99Yw4yfqLVpudfa2m1w0ZZnm9ExJXYy6Rzdi4IacGp7vJYS+ZzG3wv/BNlSf/9ZjUZKVYm4729qJoYVvRbm7FGXh2wwRVJR6WXFAq1qxfoDlD7a18sshyPcQlCxfTNZIZ2DmP37yXRnvzt8919kS8vJ+ntjZap78gjy0cupREKL3GEQMUHi/p9cMFvlZG4yOvGjUSVe/9gvFNyQYnuGPZNVB/ht2/4OkLx9MjFWq2Rto9lDQbwokpwxqf0HYOAOD/FzAb66FebDo3aIzBgTidB8+bGQOj8iX197R3rrd0NWpBH7e37lCd3p5E/GNcsoBk62BLUSgjv+eL3RJ7sdmblhTRlU04Ym7N7xNbwN+hgycGJ8uDXA79t5AdTQn2ZfqKdZpmU1MFp+jXP5u00l1XxOIZMp8TsZN1NgxG80SK1VY+zwiQ2omyUSLS9d5yqLGGYVrftRKO4QjAC+Xfpbksr9Euo9nw9ctux2gOm0c/YVkJe5Wsci7Cm1r/S9U25yELUAkS0RRdRoMrCQgVcGnkhPypXRP1bL9goHfYjiUk37V+LbJWyIySrNgesbSPGdVfnM2wUKjbVDxkr+E5bGnsvtslpYcgy/PW6qp1hkP5XScIIFBnzCnJvLJDeKspxLylvu98e3Bus3rBlXzomqcsdrfvdyvlMU4pLUhrr5I3c6UJKLXDqGdYA1H80ET1/Kk8od8n8T5kZ15FWEwme9a6szJxyVuR6urgIboUlaxYpvbbtkdzQAsKszmEhB42EaqFxuvHuGEfopv53UkjkL2hOdeb3pdOCotAxhuLW6LLalbTc14gJW+ld+KB3bzT6XTa2dNnt55VGYNajd+tjJbkglgOHC43JebE0VmfxvaIi9w492cgjexpvMywg9FABBaoVX5pkeE6w0TJ6kUpXzkm1ZY6DHs25KVMKnUY3+iAWTvuZFKeqHMA1xI3Y1xE/6jqfOTbV/P7L10UfztGp4IeOa4oWpMj2TmzqysBdDQKy27kCUKEFyfkjmMrK8zZaskVZpomz8628w7SkFEfaoJuetKaK/CGOkFD68Qjce/uDTBHFUqoo72LKdNXQCF3YP8N+WHxH8VrX0IIV4H5xbpzvhE+soMIhgQY4EtfNkA0qdfswQ2+Fh2IkCRY8LVb+dUvPWs4Z/sI39c8cI9AkeRHOvvYmkgQtEak+ABA8yC0wkNbg95iMQQwcSkTCVNjVrZY0uoQY51FAauEqPxhNNvwIpR8F0We2Y6Esm/PyJbyLOX3grPX1uIvzHYwx7bFkqKo3K/MvywS754Lt3eof4egxnpX5u4oHOGVNoTOlhhPSlxVlJ9Bpd3ZmQxBF8Eemmw6xzrmZdy2m95JV0LwmX1047qi/uY2/UiTWYELtsOmrVGUSU2ebCJIoHNJ0IETDJdmPlCCFVRLrughUqLSYflxcbCtnpdsquW7zpKJt/MlBcalyOgsyXCx/IuJpcGBqtnokH0wU3yo+6ueNk4+H1Q1JfOY7WJYHzuzcYFuY9RjnQstEjqAuk++5ySrXNmlnXShhvfjk5Z4U6nC5TdbX3V/f0l9SpyPyRVdguGvnbAPtOinxSC/t/c7yIfEpNuBwk6GgRzhJFk1Re/GKU5fmgvoUJiCeUmsHcnD+EFdy11lxnmxeNb7m//FDhqL7ymT8JUOa9xbNMxeGqgcxU6cWUcmb0JsPEeQ7rOusuCk99nQux9TfkCiERF5vjzXdkowV1081YqrE0rPnAaPosHifC1BJKn/J8A7IlQzdWpKPjznz9p3MiWQ/hpRcmt9Ybi4ch9YpYitVyeWV6i5605Jq5ruDoyA71pCDVBen6o4Y/lhHd78sb7BdjxiMQUwScvOQ4LL9wvfCl+8S7YS74axR4Qk8dpPu+eIFX03S0/j6mtjNHAFwKOV7STfF0IW4wrK/q6jz1OkQUVS7k1CtD7mS5DpeanX80gTvI6u7CzDedQFhTiXtwXCpVNPsdDQoxhdVZJluhzK56McDTuQWsQmPKza/8ic357jC4WYcdFIBldsNUC5rc7ji3gLfiLDa4M3WbYJq/aHWG5WOkHeWJwFDXUAf3AML2OnolS1chQH3KvK9FMYsBwIZntZXuoJZqNJFQibECtzG3XKgPTWr4SDufnLX93MkHywMFypors3JKKXMvE00DW6ueULvQDa/3ndyZ3MmqeTf8IS8+HRGWPg4+ZijKHRePmS3/Nt1HtpS2wOK0AdmgO37/ps/5l1qtsGNjb2m3g/pKG946e3i2N9gNBdxiOBv1lqcgzNg8Sa2h2rpwM6lrBnT1Hca9ptdZYmDM9t5AF2aPElSoh7wcg95e/HuklKMAAHDfCC8xs4X5pEQX+DnpvPdkV3w2Bi8m5RHUwe3CF6WeCKjFeLvkUc+Oo5OjxeyR75JRWyalJb1RGXYmojpsHzXtFjIZzIegMix56JWB7GI0WsHU8QGLQmQHzyuMTBE0BZrCf6RW2qhEhl8LI8U5QLA96wc7M/nEaPxh8gxUNwqkfXTn5rU55xtxxHJlNSAVcw3hJ2WrU/l4j9HBDzQ892vMsujd2pNtKmOuhNVr4cQdhEKi05RM7zzakaXqYA4F9z0XaIG1ouhOzpA1OqLg/H2VqFoAyuT546IUv3G4C+LupCC7OwQAarqd3kuKL/GqJhhvN7b6KljrKBaEANkWEYp/vA4j5R9W7ssZy8OHO3Pze9sMqjsHF/ID4e9PayLwEQkvV4cKCNSU7fAHUhj819HZWT8vII2jpEyeMtK+dgQCGbCbZyVOn4nYEx/wOlz9hHZGVwGPeIIHYCNnpVpzr42qbobzgbGKBtTni/YFzIqXZ/DJGkZJTqpt9chBJ1i7S86T2DeUY0s2BI7hH73R97aBR7e/r8gTBJ+hMI4MXkvEFQKuO30BRO7PevSp0026kmN/s/3x45TlwlKgDkgHtHGuGiUTKjCLIeJD2eCheeU95E2W5n5TOg18733+wuabdv++X6ijZjaRmIa1kTrmyRXUZrGdqOuvP3fY3ykVn6V2nIgxnMnD6wxEdJNWsEV2KBjZT7LVw8BR/kJP+comDqoMVqlVRc5ZcpFWnusbtSqhuO03dqJOSGLDOMUMPOYlcf471e6ONKF8CihotCXvkslbhBiXOB2ba+BgmcCYI2vfG65EDl4yacNl/HgTA/910OxIHc5nB1Cvq10vpzg3yOO1mMrdgZ0q6tPiSFKZtIOA513R8GfcijnWkaWMpyZrC4z2IsOEMrZVZp/Q7aGXbY7fnfng6pZSy9z1Z9w1cJ5JeIhywzRCjHR6O0sIN2XQ4XKi4OLvC3EOJWv5LWT7oMCztcmDmVm77RV0uZvdnSnPSpYwTr1fUNrJHSOIaQ3dPYivlikr/tl0UpT6eNyxnZxAyDECUwaMj43IcWca1lb8F9Db1jxw9kcNsJ0OrHn7GQ15lGneGy13IrZBvbv9nwAF/3gBx9+0vOXvIzAnCm3X+isufjPvM3D6smLYHAare3vjD0j6Mh5xtYc3mTQP4+Kmsr60SgBYRfS53YNzGmCBMq3ogN+DEsaw+b6h/+yqM4WSvxE2jWa/shs241FGgDHZur59Zs/SIU1fX9fNDEr0yWxb7LAigpaIIhOqu0+CoL++Gllljdl1QWaiUeF034+kvRJNbe/E8zkx4wAckkHUVpqeYsZ8wL7Nc0ZbCIs8AhBijYC9gfLMftkVX6WaV0vApkz5PSfs5YudCGG3c94fWuZ3z6MrEwGwbKiZfnmA1o43qT+TdTI5PBhb3riZPOXF/SzqgyuB1iYweGJ7fCKYdHv0vIoSVnmZB3akV6fZkyr12tigQWJ54YjzQBjT0kONyxQvR9jkHFEsYDA8Docy8pUbKdYK90Ql/q5NNFGP6UDXUCElCE5pIrGmNfa/4i88hqm/sVv0Z8ixgipb0JWtNz2x/HTjejR0YuwOu9CtJlXLly39LQl5v14zm1hCMC9i8Yg6hn2uTSb/xpePBMjTmJWilf/Z2yG/N+0l8AWr3HyJFr4OLAptxW5TOwTMxztwoCPxXbyiEwTGpox2G6eYcGaKMgIJwSycNbdktH2jWJ7r50GVltmvVjVcROQot1OxuWHPMjIk2uraul4s8CqbtKivXB3eWHaELytkjlkdyBdnyHkiU5FyWuVSk8O0LXkzeSQ3di1J+QGxlP81cSaqoM4Pc5KWIhpwOVT2LSi2pTIXhwQxgekSZPNiqE/cf8vHW/zSUNs7O4sPq2Xj2eiybYWGcgxnnnrTtoTnAK7KgNbN0a2FdwK9qLbEy5U57eY6L8/XAf3dZndLsjywr+fNyAhK8K8B7wIFibewFugShNCRiFtxVYahtDnsUZV+kox9ltltnM7R/87InweL47faCRIza4F7nZG+VUDzRzSKEKYTlRwEDR1BxxR9PRN3omSw+uYB7DZQho15DeR1AIGewmMRf3BMBJPPqaQHt5JWQ2ujcxrN125ijqNSGn60Pky6On0lU7lw7kernApb0R9/Rw8SEpSUASaywHEH2PsvwwXp3GFZOP0jmjYX1OdZoQxGSFMVIxYdcLJaby9V/XSfdR3dywAo4vzweovfwRNBXCOCfON6/FDHmK2FvEJ9+G/Ji2fXiLbtF7UVW6ZGB+K7birDR84vSoijVieoDSUwIhBlVQGo41Gp5ESr8gt9j3OmC4J7gmXNfxE+AjZu9A2Fekbr2Lc9jGMDt6TgoueYkHsWF3LAh0+7+51paj61AnAx24dSuUCPTbf3P7XM3M/UxHqdGpHYsVR61GiKZ/8p23oSYgmN92LILX6zv9kNgkfPrumVyoD+IZja6H3n+25e8nPyfS92NcNL46ixtaGQSNeMHkI4YGxv4rEIn/PWiNrysgxmmCr9MfNlpYjuxu8o88Mv0PyQxnImtQVFRf6FA7r4AlS7wdoGU8edQH612GhcYyZ2U+6oM+dQgKK0ksywvQE2rQmdz8aKsiuzs2Dz3wdXb1BuGF1nN5Askyf0kKEdP8ymB8o1zVbbIUuITe8w85Nq+fiqvmsALdNw0t/3L3R399FNvfd23Gpx7Yx0+OKNnmC2b4g6CU0dUAJnsUyo0n9mzVxF9U1tEGLzrJ6siTVhUImToCjTKoCM9nM+veb8mA/+ITx7zQn8qG9UHbtRJyE33qUHcDex/7iW3z/LRs0GvUJBkDLRNnfdt/5m46TZnE4/siP4zxXptos5fZlZzQ/PUx1jbGxxnkCsQb270mjWr4n6vk5PIC20xu7VVpobohNPEeLu+eE8JUZsBOuqmFaYT93NZI6xKNyAEYFdGFG8Rid2DlZ4VpvZYfBE1gI6TquhxxxJMNZAWGiRmkNxtK+62lSd7/v9ZuKgsnSAFVj28/xm7Vd1tqB1nNUHS2tKqv9sbD3mLTZsBXKBfLpmQwmu8AgVZgzid4hFBrg1JB//9rpBUbgQvE3RDkVnVdIFpySUpJADE8c86PE+ANKoDx+6b+KQKvg24nSr1LqhNwE8h9dGCE/UtbyUQPR5kuCeVhaOWaqhtIyHUjiZMo7r51pl7n6ah+sgzy3LlsRtpztkLCCmkcEHLluhRz6A05h9qM07jOPPxa4KSNn3yiBFsTyRZe66X/fE1fJc5SccRNxWXdnN8HQqHGvjz1kDeGeiPc50irjnPSHBTlW2pCq7YYu91ScpR0Fuh0gILnWPTlsn0up4rHSKajgGUx3ggyPZpmbRoZKahIqklnxf+VPkE/GtYkkWXzokHlGEgYFMJoVwWY3KgfveeH1MzPO2hNvOq4ksQRCEzPar8qJ1P3t47CfmT8S79wQ55kecRYrCoYj78TAcLrfsxTTcolgb8/O2yef2X3AH8o2+6EqgqESuld0TQIL/GQKnbduukaJq/hbJEKwe9lP9T7EVGnx9yE2kXW1ToVhuMqt8l3YSgOiv7BC7ZZaZKlXwc1Lwc1rtJ51BSirLV0nmgZhkNic1WHXTXSsRMUyVAhsxjbM+qMaXRCcLIH8jdtXZaAViqf68aCJUzIvcyL4uBhuRzoA+D2qVGiZRxsF+0/byTE7ZnXNfSoQXUhHM9G5S9vCxJcz+sitTlrJSyCu/dzRp/iYiZqUenrtvjLcMS1kD0owBeXdDqOj8Wve60WbNn4XFhZ0KrXmi+vCPtFODT+wnK7pbSTsGR8NUmd478jO9z78z4lG7C+2jU1PJH3j1hrEvKgQCGEgRmSrELWfDrRoOAixn8MlehHDD0F5nsBnJA9YfmI7d9jW4yjGK/bKg78SVJTz9wepZk7oKjqUhgq6RGTqS9JPA82EpQ5QqrOteTJYbQmc4w+E1NPTQHzc73xHowC2mOYyix6TYwW+JaXE+GL7LjSD/MPBLB/v0wgTC2LlsEKAopmS72oOIFWJbt9L+Mon+1r9gZ1bdo6Pbt/qkDimaMdiVrSZSOWnAjpf6CGpSYMnerenpok8huKjVLcVxH7rzXF/csW8+covPY1LEnFzI+iRrIh2yM6YIKObDJOLpS2leSakGkTe467sNgxAwIb8qunT0aIyMfb42Hd8/ItLgajO0B8wNtO53orN9slLiiy0spOO7RIiYR1xKZS2whLTduqfOydjRjfZaevTEj2CM9fjZhs0FWAz96cFKhO6Pmy36u7Wefj582B1uDcMWAc7RKfX0I7rficBRQNjeXMqmUG4ygU87cw7ca8pvXgTwjQiQBtEEHhCk40xDyQbp7OR7aXe7SJyZ7iLp+ST0TTdKBHYADE+gkNzNWKxzuG67Rn+8J0PryLgzeDj7mGO2ohFWHLzX9RzvrJy61zMAG4M1FHK0I9FCFuY+fB6pntq72Fie/AwhxR5ND5XKFjGNV7YT70N6AjNgKbScgnF0SzWJQv/7fVEyyj5mPPE99sRozl+x9Bg+j6dvnJPZ29XGruTQ/ck3cmLg6kluo8C3NiQ7GHaLuyKsCI3D/2syGvHqmLbw5UOdmuOXqBAh0X2oaP+4YcpgrZ/C4CdcdxpgMqGlMyuL8DqapUQhjdNYL2/ggvA5xLXOBSmA/NqBgDkUlIehKMcJIhXPW6rpyVxzC9Bj4Mlr3/aTU2Tzz5mXYDjM/3emzc61VgKJzmGorRIKy1HtOEqrJPbRJJfSXzISCX65OMMzahBihPMqpLfgmWJwi5O4f/Tccbo4WhfK/HhEpld5DzsX0i8z946rCQf5S4bw95LA/y/W8gjGw4DjgPkJEwZqNLHqt5YHAwiFm5MSZOTAWj1mPhdT/DH9tAx/gzLq9S4rdM329JJNNGC2cR5jePo/6of/tNa9E0I4z+qJluKan4cVuGKwyMbhurDYx2Ab1udTjp3eFMYAK1kgGffZaxrjuxvU1sJLF6q5NotQ7dq16u7lqu9riTGrI6toLqyi2NZA2mS4qE/Vx61gm8ppdSIlRMbpLzMk7dg8Q4uniuW/DekQhrbubBsjghJA1urbg3IZy1PRYHvtrxlNl1i4YMUQwnFmTt/TMijs72p8ZG9Szzo6DyBHRuJfmlWsqukfAW2tyqHbAaGRm+UyVnogC4j7OLCSNZ4tp+tzhLm3TBRxEHqEzedBAd718EDGlq+WqSsqZoOXZLxUpDEeiXp/dbiPaOpGyTKmzTy7QQgKBbrhe0wbWQXkJcQkbeBsYE92Hr4+IGRw4b5V+7E/0pOJ5H+6HAHpO23VS3EWadrzDLyMNvFlWsEUdZqoD879x9v9gLD+nTw2EWQN1D5khDaFlpa1HNYbw5/wct4Bn2z3+rlhKlIs75Tz/dlv7z7yIS5B6SCwrE0H7iiwrd0ErVZwRe+GVvnJkriXx2b4yxvm0lt5paLIR4zCW2SC8afAdXuQMSc/FLC/rgThxLBHtev2j2rLFeJJdlYh+Zg3i7oPwypncFBhWxr2MiyHZywZ1crzAku3oWmudWUL02W+Z7dqFnYbNUqdGzlEp2n5S7SXaaOwuIvQiEj8pOhG5//GI1D4hSleFRqhEheoBUsxF0gm4OcfSmZnw7njMrfa72pvvDZjf44wMgY2zh3dxoye9oLaYijFY3iq28kZwTthlGuQaxi+ADqM1GgBMLQvhj2DYdeehDp3QTrl9Mw+o9ZSxalf215a7o3T/cV4/iSZ/IA+sZZwvTn+aVraLmtLrGCbo4iXNV6bnyHGIFOCCG+pUI/dQJRJOL42Mu/C/49ydy4g70ur1BsSuJmo+annz8+0/JsvftlU5FbZ/Ida0W3hRRlT+osyuQAqqFwrpmJ2kUHZMeNJe+eqkOP12LXJu/cWE0P/J2S5N+2OB5TcDPjq8oPMdI7/4zcgWLhmSRDk/HiAzHxdWb6+hugDXhyO+DkdyjYiOZzn3K9Xz/INJiMLu5ocTeJ5eEccV9viMs+ZupZsC3TEyA1+1uzHjCJ3BlA0i4ZYLuInJpXFH8Lb2TW0oxMGVp0Dpcjt+SAVLvAP+qfyq9xKC5LTK4uwLeqxUW8UWeZr6VGCK9uhGUVXB5mopboBm0HgoIXz1GAGu2z/tj9S7nn1OfAtiUEoLsUVbTGlqk6f9UvTqAPYsPehFoZpmFRCDn0SiWfsaDtysyzLMbwtcbPo7Cg1keJWEicG9JKcYIgDa+k5FwHwnpk8NESazH9RPKOOlXS11ryPjecqlm7S/Qr5NG9ExyA4bEZC8CnQEhPg6ywbL+JJScW4WObgKufIXWufwK2Izbr84FECrJPQPU/GuvLb888IdIzPsqjz3MmtoeIq1WrtnoSfbPUJ27L7fC0Z1QN0wHr2i5cthJL1yYCFjtPulaj3/y9VURER8cu4ZjiVXYkHORkTp51ig8ellR9X4VTS0gS/d0KvU2++bShwG0H0wtWcHOJWiAl8QW/z+nQbr3RFdL1o5xK7pxdal71frq64JLPTm6eyREwUYTNqos2+st1mVoJsO2yKvMB3GvjKDDghy0mJ55Iye+JMeMk7fLJv8FEWFdOkwJ7Jx5msfEwvDHhW4650XMaCsA53Htg4hlHnRp5EUQjVi1Mwz+W9kKs9eTZobPpbxWs5wWywRpCQR8pk78dbNUCfHAfjNfpHv5o8ukBTqNUfW4knBvVll1ftQkSgTBhpz/kogvo02MNLF1D4ZYxfgvVscpC7mWZiP8dgLnhJ3Fw8pE3CmuWO7ShTnkEgTFNiSO3VsTY26YVkOxAjdPL4+8nJpSLEUzBu9rD5egQyq0q+oFELor2y8fX32BrCTra0lgWWS++lAgofVjxq6CGJJ3lIw8c0orni1qqD1uFSDeloi//iZDm7PCRmAn3XxsGTgRVxQ1dAmwdt1bZ46J1dAu97GR3cBXfb1DpptJW4H4WQ2j2j+i8DxyUdH2sFleQLV4cQ7cC4sCMHrQFRhfTg59/QXTNM/+JDJvVo5pwpKUHgVEmeit6uvHet8WF5dH3qeZ6rsggj+UzlMHPybjYZLA6Tbahg4efq1SZYjo3GE4uyPRW1SfOsfVmqVX4121m98El48f51JnaAKKD5wOuujau/KElMwZsLFyrOeJpeNtzNd30DebxBMfJbyNqK+1T235F9y+XX9W71g76AP0KEkU8k7HWeiN8sg/lSQ7ynOIuU1BDVZiBwk50+x5BPn2eREQc33f+MsxsFMvs64cGWteyzwe5i6sXhc2sbK+/AMIy8hZFUEOOrWlYThT6IP5dV/FtdrzYV05vTo1SAKGUXY42BItGEAqhc8EUYFpVxf7aCy6YKua4wfubeIZj+T/sBZs+UN5ED2XmzZUTgeHM+JtPLWnl9Gn8zIFvDPrwXDR3DJLKGZBhfsYXteDowrtej5oB97xOZC+LMeVPs1wC+iRa9ACVG5hYdPbmZXVNrZDfV/Gzia9/IN0wkLn8/Aus+2fu1GwtIsfjaXXW9JYaa/aIOvf25nn/a+7jKbSCO0Argu+2lpo4VS5+MjJnqhx6ocf6gEGcg44Y5ESq2qo3sT1CQ6CJYAiCb29mSdL+UKm65rN1eJUWqWV+HZVzQgBlnNEL1EDar3mBNl6t6aZCFTwXIZYyPTebcdhJz6k3SrAKF2IgSCQVjfkod9WrLcBoKReoRoAavxgKJpkUrouJGdknXDscRylCB5J/lDx9W763fBsiDopHsrF+kAHa11gbZitgH9CoqeZOsmRpRNFgoq1y1GYBjwqypuziTQG1JbcU3uFLXaICBKUrJPMcJh8NCsw8gtkGL3ImOponxX5Cflfcu9lG5DTX4WJsQlF3ztmWAb87cO1tG3qaqOn+rEny8KJCeh0FCvoNP4+6QqozIpbc0Hrh+uACdkrKPyrhvui1lcvALxvxCCTeIW2KcUvXoJI9ysu+mKVwq+Sk15gpqrctWfTQRZkTiI7kpejluEbCuxzX3wUJ77nPYl/R3FYFEX4reP4i68ZDli9pJV1WPySkl3OWs4+SmJXEq4CBMBU/Hr6wFus9mrRIca+Ilx878I+yCbJ9RAy7se9QTYTkcRsg/d3AYVFSOkc53ZNgd/QF2bqoFu6+TdHO/NwIxm0qhBy6LVbdBIjAcQi95OhiL3M6SpYQhWl1zfm8DCIkdVFkRxbMlZ2qV7zo62IPENmWIeNR0O7ceFAWOZubdCD6H8bdo+Bxnr/n2at5bCyHPrdPBTDJPW+DZzSvBrLFnk5b/He/iy1iFHWOSotMMt5r12EwqfpRn++I3rGMleEUxrDF2TPX9pfEHCZDE95u6I60oBQXc6NlzIAsbgDWAPFrCMj74YqAFTDX7dzVDY9VryBqXbfPWlw9FImOTD9ZzBOQ1YgnQs0Yv0iCYMPxTY/to7BAZmq2CLc0BjVncwO7OoyOlWfqdINLgtfxM70ePM6aAp+1DKrsrCUXlqVLgsciOPhH8krH0qHkynCZScFJGA+tisGX9IeM9m3MAmZzHYQmji/15H7ydFIGFn7mGV4n6zxwj7NPxygXk496j2DHz9IrAl7m+Pta5xQHFgYEP5syCy+v2fBt0rpx4CoVNqWLcuK1jQgvT1ZfzSibAGIimLrNrCKQ99UIp8gyat25syRKUX0kuN/GvUdevxHWd60fEe2yJo2v2dqtu44k3AshyNNaKJfNq57otTFTw9M6cu5PaTE5FzYbp0bLyYFBZGY0rcM3dfrsbwx5yPpDAQO/+3f3vDim18Qs/Jj923307FrG8oXFspzF65shSwj+zTPinGDUhPBdtEkplvwbyMO+iKIJGlKxOonrC4xQRMhbT4kyAbULyv8F7aOHf2VFZol9xT7vgC6/loEA7cSg6GYRCj+0TDjQSf08OVIPyhHaVbf3yTryK4wo4lRGABdr58rfYu43l9N7Rpuoq+yZGoEX5xlCh6S9MNYCre9/nTtSHhvxG47QNvT7PElvLNjADWh6aIaaWPK82jitW4yRtJE3FUEEIn33Suhez9M8ybDKcF5N3Mx/rkmX8kmyzIsI9T6FodYhyLTgLywS0dITGxCmGZQP2P+WTpRAo8j5VxF/voVc5Ry/N5iS2qcmhBIOhYG3BTToD+8w2HuZlpeAVQbJo9ua/ZcisAWPg7eVXvOBwKJSKOsrOCYSP6BIT2SbPuP5eDfgMG95mKlY2LqY84b649Xgzib8pg0r7xxAHZp8Kon7TN7nGbX7KeXhSypxYc7K+LcCODBAZ2qHsAVLKoT+ejH3ATcF8cfoHnJ6FHCptxFeeW0DWXo92vtu6IFbGg5wf80eC/ZDu2FjX80El/6doQ/vbLbA7rtYBE3jNVHrokyErZT+6oGcH6l1e3Myo/j8aZi3+Dqd4DJmmPUCxpTlqySK3gyzpqTnZ4lvBb24sP0z+LOlF+lM2856yaAwJJvKX6GqCVcX6wu+0VhAaeRCjnE0iJ+pKntOXMbMqaA1n6wPN4aPnJD2pe+d4+5QdQxGrJ26B8ychvqeZdcbYnOg+KSJulQi+aGIUWPdG5DddyYzyQ73hUBUnAKkR/muZbW6g1RmWMzXm7CHyy58jNWnvtYR6Z6dSZB40w3GLCtmbycjTjaxAUMRYddm+QSNtnWE511PZXwOEOdWrjKymeEc9R/8OZLfPVq89+yPLmpJeQPdpLjCkDQD8yE0fukpnpSaZR8MoRpymEwvMzxGVVP9jPPy+DIyuJueaKMaRUOa8DTAIgdegC++fICSxqolvOP6be4Ne0hojbNnxXHL45HQhlL50e4iIjfUdzbpcKGhBkdiv/KSNzYjVx3rHGzjt6EZ76HIATIf953VIKHkaR/i6YIVYBNdXTl+DgJ/TcVo7p0eYfhjkgV4Tktpx5t1V0wwktE3kTjhCpwLQ/EcQRJHgByQH9duo9PV/cXhGq4221SXW/fplWBpAPpQrge4EzpkZfDkv1Y7gx2bU/Rf1Ju1HKXMpsd6aSmk3516C6PNqIjVUHILV6JUJOYxG/kTN/fom0+YG9MVbv69rrEQ8v428hdrIAfogngHFrKQJIlyT58OoqKsVbdJC+JB08WpGSE4JjLZ5O7VpOHkucW/uP+23U7T+rQZTrOv1ajbJle9I1LvMFmMaHPF8iP2fDqE1PExGM5WFPC40R7GdFxe04aFjryXMHYL9Ozp1gxZz+wou/+OAI4VvouWbsLrqX+QAOPBXo4aWShuQOUk8SEdwzcQGLrRqp1MJFgkIbZsxyZDwFp2GlVnZ90zUf8u5DzOtPhmhZJAw30SnnLoA3BmG3MWi2/nNIAbjrJVinQh8zxzUh4/KWe8WWPiu+gQ3i5V6U3zLMvScyV1ieuIzguOfexuqmiZjY8KtVfCpGHRhnogv7LF6hR1paSkc+n4A2ByIwGsYndYsIpOQj/CAytQsG4JIWOukf9V2W1jOV/ZppstvrDISNJvWs4E7FgWMGyohz96sIhmCxiiSGBHuM86oXxAYTW4UuNW8F0riLLbTV2VFIndlPBwL6zYHlku1HPSjhuV6hR+rFNAae5khsbeIkXL6+rg5z5UYciond+zFL7Rl7PRsn9YY7DixxdJYD+nRQX8C08X53vq4diMqx+Az4/8UHLPwOwOUOtdmKYnUPN6qI1GUKTCry67XNsXJTO9y9nepfNmKKBrwTVVd9JA35jnJmMbzZvLujRiDpwzYPe1qYV3bL06eS0hA5YASVfDrZ1vCIjW5uGIk/wS0RJUuhRLl2255aBc61m88nLSv6ZDIybKVgcKTpmfUC1VD0K5765SgfOQjyjPr+8gu2bRjJ2vFzWYSxSWIsZX7nQCrYKpAu9Eu3eZYJimDQedoEKsOKjgIUErvrizEQoU3WPATExpCs/fxy8sApw0cGkkJvXl1eOiLgjg4NNPopvWFcyPByKQIVD+IBus9lg4juqj9W90rCyGlzZAfU0luccU46uYhW0/TLl0ylYMLhezn/ytyjLjcnZQWLMUo01Kvdpj1BNjdCqWKc58LYEZGhC07Uus9pCCKXZ7Z3dY0GW1DIcaXvYbQFZ07ulNq/tmKXBrCzWtTjgTUdtUOMUBnZuxd6RvSkSazZ+hdmQ57rsBxh84mrh891KQF1Go33OLPhopYwq0xPMhQ4tXtQroZGR72LFfM72u1na2l1awOgy4bCGw9zRYjDEBNZ/FZfxCQcJnaXHl4Loo0y96ax+IwNO7+6e+aR2SZgPuKWeNgPXAgRZj1DwOpJklLcjr9vV1ZrXSG/OzlBwYWIb4AGMITXg77gX1QBQQARLag0LouNumLjrX7dZViVyVtu2uUL4NxuqLucXoNRMDYJJJTMAuavDNGiLpXPWSCRCl0vRywSiaSJXoVLL/V2NkxMC9m8Go/y+EVFcrBDM4GMdWnw/t8ydEvb8WTJsInlFDZVScrNPQpJZQnaBYIij+C6kHg3DebuwTXafJRU9HGOjg3w/5jnNB6xadicKanaj9q5itCHwR/Arz8U9TSEh0bWrHeFRaLilfoMSgvyXhmvj4tI/iTugmMuTd2BJhTCQT6cHXyV4azEOKCV58U6SVPy+Sb2Asx/GSN0g7E55XFB/eA3g6kPa+6YQCaxKiN4vQolIOwENhRIoMXcHJdOiqeApcKlwuJTIziB2z4X1Q1w1nVu3tCyijzkM3uIy8uuAA9C6XTJKBj3YZqur8i5TW5f0GWpDUX6L/wBv6+47OkoWB9m1M/Lu1Z7p1knOI1DSve4Lpzcbx3QC6V9UQaeqKGdfX4aBxAxShj7FBQfQUiMooBbjHY4IGBrgG2NRVml3IKN24jhdMFRaPKEGNjfMeWBODAp3/DEORb9S39VTrLfqvnuXgTr+zhGc+NHWhSfg7tO4tk4ugwAceiLhlyG/SoMGcWMtdjC2ODtL1kF/g6I8m+LWtvjfXXqtHUh4ngaDS/RAnhpI2RHrBaXdkRBcSvRg5yScTYfO9rDW5YkvuIuQb4HYPZUdOGAELs27z07kCclOBbYM2IlQrymREgsAC+PGyOOlercK8rgJ185Bd15vVx67IenwNF0uVeEHROvNJcynb2Gt53jJwhP0gh4ioL2fItMfra0q+vnppzbyf7XC3NqtRrjpZDWGPfv9na88myAXrXGBo4V0EqFIGnKma0Q7c67frZbwv4CTXf1rO2fGQknLsYykHOovo+OC3HQ04xD98IxH+0O67RWOYvXd+uehYcqAuLVGvfuyrK7vCPMN5NwVKlZQ7p0GzVEc9y6vBePhKxds4sRpc36OyxHsjpT+fCLxlR/l/HCGDpeKuqDcZfeIiXYgSm/9wqzxeW92C5LeWkWJ4tf4DNQ/WR3eUb1adaICQmM320jPEGEUlqTmegr5JtOr+0gWFARlocpVrvS+sskIEu2repXqanIey/JsqMIru/k4KGAydhXUv8l4RmyutZSoQQnASfvTy3AYtyGMlk3q0pM93svG6nGfAoE6oNoiW59eGzhtaE3oH4iwUdH1n058UAcKXhT7iEBm5gFgruUwkskHxVQV0RoJslz/pKMG9h+YlZYsqeayuUt2KOUym4Rlw42xhTsUNu+I01YnLicD1QbaL1uo5ylpr6IAWfMUELsf5fvS0vqRhKJA+bSepwSsVhGUpCgDHQv060Uo5oVYRX8LcFG6y4e6tqhUCy3K3+hb8zQCuPOiJYQw0Jjl9AuHOuuS9wKJ4zgERbc0KHt68aMSJoQrIUa4mccYmex74Z9TbuwU0Dzewz45IauZuqSW6uXBCrc1+OLncfcZZpjmzYa2OTv1jCTnCow6zOlCinncFP71ctPMh2h3lOTNe9UlgnGY9ggB5tUBamL7JIpEdB4O1CoHWoEnp2APilB+VT94KyMVIP+2nGPQPji06rK5NJsIdJbcBGw98Hqc/upxVKwoSneJWGuB+Dl8myFfsxyfIAxpFa0iIN28UVytScbq8p6iqd93EjO8g/jZhEEUQc6Tmtwh4bbmXMqEGxzrCq91yWzPAjoLoMK3VfsLMBom8AKyy0KyimVkC4/DTgkkklBiyQ4Jok+oE9dqh1OhuDBf+V/qdEvjW1MKMKKEaEUFVOkIheWB1bPLxgO+i43/rqSQES84hzi/SQNaXoI43IrMnY9mB0GH3R2omJOXHm8rrqBk/V0LcR+BePCpKg/3gaJWo/yPK9rn2RuZLopAfEAXRvFb6SgMke7lEHI6UkcDIfsXzIOo1zxc1ntA3ngibpWsIxH8qRxI3bvHLj3ID4n5jsavDAv8o3Yb9iJRT8pHf2WMz6yES2/enKj7ZTk6tG/OV+fip0L4Nr1yQUCfJ1EUtF8Tpb5nuFrj4kn7vYk9DxHy/r2UO2FeSYWmJKTPUvTYV75V/cxukub8PSECRls+RAJZK89Nyj+d5sc3VdY854+qyyLXMe160UAWONerhxJqMMN5WOk4CzYGaC9IPCkKUBpk9U/60NmCcPfiUCji065gSjvAdCAtWU0E5rwZ4IYGwIef7hBTLzHYUEzW1Onau/jXwY57TnZbAnMEEvE/BzZQjvjNQbHM7yYNh6+HLKbwjQU7IdtwQ9zgiGUKcCdQFG5d5QpOS8EUcut4sozeS7odKoj0f2aIAj4tcQtKOMowBFKvMRnoyJ2vOzLrL2rYNyFnaPKm0jGAZscSite2nvSV8sbw4zpoRYS9OLL/lTMHQVw1K5SWxZK2CsaU+rkxVH+/KXihrQRpYZxPscKuIfBpzKLVTTeiuExtwDGLky7IJbeSBio89cuZHyi4PVlLemO9l+1i4UZ1yA46aRtZGthUnTBGxfffXvHFCKP+3wy2u6l4bCJuK/ks3n9v8mT/V/NeeWqzi9X7+jiRKkpm9kGmfKxDO+ax516YkZG2/UONCvhSkndroK6LcFLA577HA9firW9IM7kpXc+INex6czGDqrwGW2Zqb1bui+1Uana+hUEiPIwQI26NQlGz4nHazP5SRgHIx30KAoI5tjiX+3EFTclIDri0AftxDuzk04l0agJkC6vfn9WItm6hSn7iuubCZWcV5OwJOYPyUvmB8Yc0LXp2T5OhbRG+AJDPcSZESPLUhoB0owlCnX8PEu0jiI1/zt6yUNo6p6PgWqkQaIQItNFjKkS5K2TuHz4BXq5DOfUxQytGmkCvUx0kkZAqbZ409Z76wdTI8lfBaSL/UUJ+7X5bWTDDgIdh5HMifJGKPxg7YcrOekUMqtsVhJUykaNMm5gZMn9xAsl7p+PQ8WTn3abXoanguf0mUC7rHeN2q3cOSHONhOgcQnlq2lQMRyVOX4Z2082BxNJVNmjos0D6TJ0pdVfuOmBZ5Xdj2JLEAbEU8uNUBw11tG5nrllJBSHTA4nrKmGp/YV5rkWZewD2zuT85L5lV1XOYECNSl/zrXKM2L4ty7uPJtU/N7Q7hs5Sww0JBbGCIn2V7QO6/oKhBNuLNhIBTVE0dsjar9Q7TPd4bvlUGJSYy/gIMykYodj7oLEBoh4Fn00LcVwTCiKNM7v3Je13ARUR+W9I+J8+sR3UGUWZq0S3pv/pt1fpkrDwmocqzTnpp2QNDZfuV1x/GYVEjuWR46NALvM/rl9eGzsr7GTih32YTWoXAjoF3IXiyawBUxhOJSz27pmn1tIPBnJ4fJD7RdCen95xL2MbIrOICjOjDa/6v08IF4BMdq/HGtDOz6FuhGcl/VsMLY2Ax99MKTipD5koVTcNyQBSXLj08oyzsS1PSt9H0ce2ydXpo9X9s7j8ypOlrenT7LEDgCHFOiwtFXb0HmHrfXFgaY5h/NArZRFOa8tox16SGL1Ejscu+x4mtO90YBbzZOASVA+ClguW3xNEAhobGSWnRhpBJ10SABMAFABYoxzJm8VSYXnizXUyG/6ie9BKwE2YFaUHdoN9UTA8ActRdIOaI8HiIL3g3Nb52YrXTQkSIW4g1/fxbtekq90B7VI1X9SIf9pQHzdoWVVWlN6Qx2U+bs76Lv1W8eDa7gd3EjZVXE+28ARgA6MpdDPBtaSD+6G4t9toerBIvm4CvA1GIdt5+haadApoNbjUoA344tzZ9MbXbJ5qOYb0hZPo7j2JCUcZjJy9bGgJjrIw+VAf7N8CJV6JAEUuqOQQCz/FC+4pUbcdtYgTgGKcJ5sFYEp7myiTc2A+0/ibuch2sYoHKEUK8+xK93Sa+eLGpnv3ytdFbqeZe2dYKXovi5h41hUMFMeUg1MIDe3klP1bJ7dCQaXuabs2KYGgxyN8QXXXZvy26Tf8YRfinq9OLzfkAL0X1Wjphi7Xc6SueuyTBI7QMEaRzuVtA2hdRJ9Oed/EWQKfqx+71lMJC5AhtVMH1QMuyOUvp6KalyGYlzObGlPy4XDkcTPS7C0tXZPipVzIW+9mNgLEZrTrOw/34GEM1ilUd/HT90+7MEz5y5Wp4vHt4YTKLleBtNSqMmibXka4AmXuzXuK+UcALiJ7I+rE4g4TOrKfABxQcIkdgXFQ86Rqa6WtaNA3Gl3Tys3O52C3hXiaRf58gg9xkoRUH+OWWhNZKZ1VCbacKamD5/4YOyVmsG/R1xzRzTzDMSx+u3DTl552q+zWzeg+zELyM6Y5fAvCiyEuA985jC5ZzGQ2zGDwdV7OPjMvysBYyawVANfZuIWM4YzubM2a4n0BGLoCBvO/8wIF40AfFBIcwynH8hGaKIEpuFZe6JaMgWkJGcK9Pg+6YZF9uRF6lvBid35ndJDCjzsGcoBgwnqViq0yQhUTImR/SX5MLwEHVpRQUaYTnrirWZwly3bYV5DeXmrPZWD6RU7PlkHeFhcsJQQKL/2XN8ikSOlwTGgKAA3AfHkHB9af1S/r4JTOIiCjTbMtmh3SVL6Q5rHnD6mev1NIWEGwfFtD+OFgaG/GEBFp9Lvpvrlt3+ICNZ7h8emBs9mE3XuJ0tG1RrnPfDoVc74b0A90KsfFyqi1g79OBUm/u8ayuKmVLi/2vIVmeaXJIxtHdiZ70tNO7fOb+siw/qdFocPqp9yKwPfD6jtUaA7WV87njJOPNOgjj2tBPPnWdg6eUytGa0pNT+LH7EojpMIQhijgSFn1Q9NsXxg5kQ7LVj4iJYQRMLQeqitDxRG1PAvcBI2wSwW6zD89FZO/71aR5JIoA7U91FNhKFwoCioaf2LJx4YQntjrLkHcqBM1fLda/PsySGLXlri5OqZWwsBNQEPQY9PxbbTgQVztxBY79pXfjPQnHvZPzTS6/cKCOs2VypzieItk2NyRJaJfwZPjJJOBRknB9VDvqSZOk/aGvteRUNpVFBmxCiSxtKAIQgybcsFH17vqw77Tn56Q4XdfgRmbCNiU+eUq5UVm7dejX8nGzGbuXRtMHsnq+euLdJwao9OmAODtCoiAErAQ99vqo+1B7qjU4M61Sj35NQAISM43As+ktoKsBiZg9s8YzRx4w6RM5yjqlkUozDdm79mEAEf0McuQ5+txB4twd1sp1nPsp1tudrPgoYkAxjddhOGP69KPOFZXSGJW9j1vMCFnyV08B0qUq1JmIaGPJ8KCF4235s2jZOceKGU0VAgwCHDEjf8lpQ+5oIkXMUxt1vI+obwZvLwclrVuKDk0e1vMHW/AQhH6k8cDJZzUr4E4EFUi/lSkT5eqls2xNA3jsAjiOKvt/yI+B6IKke4qVrRw7CUXpaR+6s+VUV21OfquqgsiZ/p6Xdy4cetGFWs+mM6fmragU7mYs8zVOyAIqQLojDTX3cvTkom529Ul4yrDSDKEWktxVpSp8tsI7yglLf0TRakkTMVDOn+CnGaGb2MKzMoC0Qu4Och+201dgJkXPYLgrQrqXiEUUb7UHlKaarz6pCittl79rtTHS3nzEeEt2HUVvpyNkCYF+bkfQOw3RvKe/JirUocW2rg4DYiMf5DIoKswYcXogXc2eO/VrtjdOEC/7YWl/3G0wLbuyISjzUWOod3N1OajB+D1cOsNptqqEOARUQ9dx5Ka+fVWOkL6rJopWYgb6mKK6ck2chlcrDMDI32iDioh8gyOJaYRwiHjoB+vuuo7ogG9QCpO8qrNRUgqumA+DmHrUJcyV0cOpang2NHxfUxqN5oqbIWuPZD2IH0hybL2EV/qr1swr3ZG2Gsn10hJ95MCNjRoUUXd3WXpN6wT3ElT9vkVliUrN8jsoGo/Kyh1k94bFhvBZbpMG3M9UC+gkAPQToZISvgw929hMfWw/DO5ZH6NRREWkI35sToFprZZ+rK/AI5S30FS5d8DXMczzrMs0YWEJ2evp3/Ov9hzi8dr3vrmKUwQwQEUoGE9277GCBp5KlhGTO1hgOPd+ou+hkSaFE9M0EBSuqIbMz2iwjSuAILc1fobkscWWlSEhCH2PMXpSU/YkuOS4rOVudoqEl1xhxGI0jtauygOIc1HFKOsGM1fefxTTqlKd8wcCOWswk2KpnJwV7gZdLBE5oGcGpqjmGSTcq22LX3lrAqO2/lCkRtNAEiP0EhGpWETbB4oGmw2UM2x0va4R+FAlE0O3Qw557RqhrcjwT2PWghwxaJC9GQywA+p7Pb+wUPfrlD8YvxxnrUzQ1XhbhHCWNmOVWnBtMEIG/YQ/eg/wO+0d6o4T3e5fgvUmN1w6/usvuTEti1CFxtOboNcnL8rhhErUJrii0QEzMnYlvM8zfSIIzvkUhqDc3O0UWcnZBtCl2TXcEskpyLRxF0koEGac1GG6AQVLGY0xyl2tgbdb7bBbAddWV5Hw++Ja51Fu5lzwAO19cq8HqJT+zYWnfIq70+Kpg42cBBPzghAcfDh6ycwjJm+TyIzhhPZ/eP9X3ZRxdDBU+MAqrwhV7QeNipjMTa+yFERXcnkyjd39swriWF5VOf8hnfbaUINmYR9qXuqqhGimsh1km6WTC03pTiSPwdVFCTr9EEG5hiUemKPo0930BUeMwcm7Qx6rf9kYoZT5UXL/RnBFdf1BE9355K51lc2LWxkLHkU6yZEdwlzEBfsWPhhbX3M+9trO08EpIwjloGhfedpi1My7TOQxYE/JpD+Pz1PsoZ/RW1EgI+boccGEngMeh/rBeMI9k920AaH+tv1ujsyOx8lpIDsOFCIK4UlxS1dsfbepzqIdSDTg+0K5vnSfv+uvoOo5UAd0B2nzWWAvS71naiK3On2ywkXPsjwCxAhatE4QwSUb9CTHxSve/Wb9zKzHXmSrHpQahdTgPKLQtS59yD9PuWWjKcptMTm7ZeaTygrCb716St8eGobA/0qwHaProXQQuTigkE3DKXttKQWKHO2YKLDwsyKZ/nzN4gu8jdA7kE+l9FfEfqa3O67xm96EhyJwYv7jnWuaBAxyoxscPqczLRf7giB/21JxT+X34YeOczWGX/fDG27Wd+SnffXM1HZgdcn/Aoa6PbQzMCCZHCb6Zd+jf2/xCjRSuh69n3PFWySdv8TRV4U9DoXJxirMrrXiW9AssTgn44DbyWZnqIiIAmqMkx7Va/wySx/g39ujUUH/8m3slMWgEqw2WMW0VmM+AXNlyZwCUi6vpCFtHfl4bUKXuILnUtEJDH3gniKTooDd3YOAnA7dXSZlLszRePs+gfvTwx4ee8C29+LFCR1WlLFczXkjSsQXyePplss077wbwGefp1XJzXJWrirFzmZ/S3iZWwWDyIYn5PCj3H6U9RrAHjyeE1uzPezwg1/xVORvvvNqDb7UbVUL16Vu8YPned6E1ys94s6yWZP2TlUIV6DTe05je6+UAaljGUahDpIdQEuJuyduwNuA6Enr5EstGr6g/qf31gAxxY9nlNg3B7jbu6TWTMNHfIcaIng35VVooHUb5asf2FvSHe+4Q01XrxIH77lCoh8EtBqQauw13luKr+cPcQH//EB+1XxOHVE+mfI7DGBUOth6HURD32f3am/H6Q/x1ogmPx1KCY413qqsi8gJA6TH0RFksDEopAPEWV4XyHF5E1b2ReM/qIY3EI/7bgkFkxuJ6GxR1SVLAONF93xcX1hzIgkPpsTlw8zLkE7OAC7/aDEzBK8N3VXMek4lPP/RLlzOGl2XcnJhd3y4QXo9/rUrZ5x9hnlP1rN8KkUohk5faowIXxb44yUkwEt6IR+nsT8k1wcOW2ThEvcMw263cx+wsMRGP5UgecuEetCVDkeg2BY8c82hBnNPgD5L34qtt6n8XBeG+oR+J1hCvzk4mO2in9KlmMRdKiCNs9SF/79QOaTGibLu7Rkr4OITjVwHn7VBp+7/ZeBb8aDJCUbioBn0pf41cdQHWtQFlxaste8s03LSUCtjc/0/aW2sA4fjtuuThBQKSwDga3x6yyTYuxzPRxqWKd/pMHAGWKlp0nclr0SqHGPnC1gE2DBw8eVwWztW7bBndPAPsz9Ew7LKBtDexX2ac0hpHO2S85o8ZoG3FWvyHzJTHBmmdckrqORBLkvw7rW8ty2blanilInDxaMqNqc/LkjXBxy93T7/9c4sKrmnvTgHJdngcPC85NZU61dCvrzOIVtG61mLxaJmw6CVVau969Acixst3OLMBpn4yNWnH2o0Jyzyc89cwsBcynYtLb3xZFr4p7HqTqqrTWZ2tlqH/tGyttae9TesutvvK4xSja/qDoijDXFWpUIHZuWcpb7LZpa6mEUus3+PmVeO6cDJOOBkgLNKbIUN8wlYt3ByYktaAcCj4kilWDd/tzHm8DOddC+/RD4JtaZNDQqJqsy/HHoFUEJifVcrXCjNMCBP5Pj9czWAJ95270BCHmH+HNlthAhUrA81BjIAhSMNqBJAMrHx/aNjp5PVL1Miq3QNc7GhVfFUhEJ9qqsujiriDRsbt5ZedpHpRDrz/NT/ek5tWyN/vmrJoBJ1mWbXLVzC6/p/8+QOwlwQfx4kmUHh4NM8f8rJiHNz6KOaySZpkubMJ41OQo4e28FE7NIlkFlmuAnQUG5+DmhlaSCJCt5oRKTCn/OfpiWF3gVYd7yuwWPh1mrkzjwOkWH2xQgePqGLgDxf7yDZj7ifeqhPtSS2XyFuQ+/aYXSkEdNq7L64vDgAceeXFCqWb7tc1r6eDJWbIEXq+n/V2k3DKFkJ5UwQeu2N9hY+rhJj6rhGXMQvQUDCbz65ifpRl/O1VJjGnZAo2ZX8ey++HUjYPHJuR96HTfh5XasSNcmaM13EuWVVWfj7tUXDKWElChwP709M1qEi796CKB0TEpK+EZvRLdKmzHzlVpGt36STvAArODEN5Qquyi/Iq/u/9xqHfmxD53jTALIor43S4PqO7YTHTDnofzIqAfJxi0Mh+TapQ9UWFKJJmlVQb3+7k/QIqRpBFbbMO6YPVTDEmonuLexjABlB5TCwWjD5q8cXqJPg3usgO4pMFXfGl5ti2CBkMCSLU7vvuuwLzLlu09/yOs8w2fSA6sydbnT8pe3GUb3iyLTy993EeOH0m0hF0/Nm5ILZ63MIBlklH7OlU6+dfYG/HbsOOiGn0INF90Wj5ZqchSsH+1HSR2isxXYDhZkFTDR0PgSjWkLPigNN1GXN8UbEo5MxfEeA1w7yGJNi+xJTK4skjs3+IiRvLQCARdKpdptcX1K6Va9oFhTz8XWbc5wQa2Zk7MJ9JsnEc29Y/pRTtfJTRd/Tto5dd9LJIK00DcEVyHITKRp/FJRSQUP19klC2JxwbycIRT0l6xz2eR4S2Aj8IKpKkWq1vMyHZZtIroCbkj22gaJ4M1+HxQ1bOxHWRcJsxbqoXvFWmQa9nhS/tvVLXo9DNFczPE2eRhjNqhKglxo0DErfFZg2hlnVRBBdIs8pb8JfSFyiV1/8CPgsAqws9WM/+uAT8+LpD3kdHLkv6TQHrNRNsFK9xzaCVXrpbXEl/HbBjJ6h3wfach/C93IaIXVDerrV6WmnRGUMKLAI633nLI+sphqg+vtbJ5d60Kg30tW6R568TqOjyaeTjjAV2EFYz8LuqHvy33ikcN6j1VFV+mwxu14n9QWpXePyfTI29D7zJuAawYHFsFsG0HWV36mpMOV0fkmGTEytpRWg+7bz0uVtW2d5jsj7U6aTEHdgZAE33ILNooLZ9YFoOOeatJLKpAQ3yEnLXpB8pxzfgWEAMmHrz29NxTL7S9iT+h+84zb+6wfFWFoveQjhi8kmkJAbtoeLOhFRMSZl5cmnWPwprjg3RS2GMjMaXOwvxNBsy0lXGWYUB+PoCyhSAIDx0K7hGeJ64WNGNVHBgFUocZbJkp0FZw3Sa9WSJDJhnVzWaHZl/kf1+GwoUWpPEqR9F8NvqWNK3Cunm1cujhmWxZeHMY5EdY4V5vdp86d8m0TUe5os21gNeKA58Ix6YkNWAaUuT1V5pnJlerKSZL3g8hCdMQMjYBl6ckaSwGG1Sejb6iXtJIGRv5iZt2VSHUUnpHkdCWQ2z7la7nNefqDLFPW9SIEypX9ef3XoPYcmC41b+CqOpjmIZZo73IsuRw72DSFZQprB/vI7WKLsI9uI+79IKJeUC5AEFf6h+0fHfygaIU5/2+TFvoX3b3DNv9FVRhi2Z0C1EvRTayAuL7oOvPEbFbNS8N/W+2xJM2Dr6ILzSuEnCRkEB+Wg9sO9Ih5/8BDDtBErcj3Qu7lHF8RmoKB+ST2i41PdScPGq/ItA9dEWWDevsgsmh9IxtCBK4lhGr4Erm8tQ/tkr2FUG9RBTyNYfzAUd4KsqLAvv/l05INYsbkHNY74R7kDts2+dc6aJYAm6+rKJaKQ+Z3T0HTEIGm1wDjWT7bOL3TGO9tYem2yqvvRk1Gj21IJav6R1wUw93EYd0TA2VoUYeeSeFRytd5K5eQT+E5UIYuW6PBDWtS5zlCQXLtQfyh9CPb58CCz35AsjxvuzUa3scHX8F/vwrPzwHpr7LR4818Rh2xjQU5dVhX6OY8MAF/e+f3ifnO0PQU7jkgA+iJMQrJH5bKTyv0ZyABj+dctOy2i/E26mxCawlWtJ1hEtj5fGeI//JLAqkQSdOWt9J10okLk+n9A483Ems0ksJikM6lW7KXV9aWV+7EG/DsI/WCux7bOYHGqkFLCQI2rI5/JgS68OaRGD/0KmODd+d/KaVaC7Kyifl1qJ2noY7QAWZIDTtGhjjVJlg9zruhCsNYLp0Fvmoma8pkN2oIux3FIuW0TUFkx84hPBXJjbJMq6G7aAKVYCCZ9cThez8WVuYzkcaBP7vkC31uIlJZRck1nWb6kuC3RXA7pitKjtT0JcqejYnVu0BNzQxW0PNQY6fjvG/5dE12GQ6TQeAj16fBnrbB4o/1CKdRlKQmmeGzRTLxnxPr3b9XVH6Vhksh6Ohs7aHyHpI31ENK3zC1fQgo1GjLMZ+HBkZpwCPgH6U01wl04UFXs10qxsGi7jj/WN0ZVUlmvV2gp9etYjOttO0hvp3A3Mj7EzcGVeWc4NnUPK6Ecb7GkDrVQf3IKNXX/C7ibRD63hNRr3h8B5ShRnNpt2xM+yjypCWi7ikDyPWXPWLIs6DdfPlCD7f5xHxOz/gD5ETBXFCXAGIFnXxhW9h6QngHswhpsY3wGwnd7LmDx+xikaA+DnW+C14DZ76AAnd5fpziUiqF7YnkNNUmhjHO3q484vNoXtoIlLOa5iGhkvsc6KGappZjlc/zIIfOGm9dZepY681iJkZFjlCqNyU1JdBpEfXOAWl5ihUgH0DuUiMXGRRKILVgn/+oxDlC/BImS0WlP95DK5pv502+aeJGWyFJijeVQuJBURSq059OiHGKUSyPqfZkK2VgcIXRSq2eGvkW3FhHCdyVjfGNu0YTDeBN/E16ihenvZI8XavaGoHnvVeBtZfNM5sjqoqGcdUeYxVv/rwIw6PaqbPHfykpuO2Owx8bngtFaZNUx5gbkz3Abl7c69zJuREGvMCB5NtI25PgqlUQKaITsxHLyMd1eGWrAdbyhMI6zITeI317sgpFlLSk0tCPZ/VHQdBwsd3pD4ULDIJWck7/zoe8HjQr66csn1qFA3vdn3KU00gBAv/+sUMdcsySo9t/fArUWM9QHI96NK9T7tSck1MhMTJw8641vEtGOBaqUTXch4JoPqImDAnt5b8BIGqnDGZcXPefRu2SJMKBBlL7d+cGvgvPpGNzzXOJwr801/eLx1T4DHqmCExyct7CSs82l1tG6dtdFTflxOZGkJpZnCw75TA8wkBAUHii0/Z8C/oNmyFjpiSWMV+Q+x4hWc9Ef65RtkydQqktApZAWvbB8JA2zsm/IBxVOnQXFNcuGVEJwJyK3zfY2QbRqdsDN0uwhuoU6LxGP4eizQPQEVonaFSZm36q1P8j4/hckhCw5zScAqBlKSjPudYfuO61fok8jU+GxZ6xkZSvpkCeQW43+xkGsRy2yk8FrvWG76j8ZhJ9RwnstllAQjQTNivwkutO0EDNBSy6UMvsDJYC2zxMtVBX1Y9AkR0aGYlvMSrt+bvRv3HQxftvZndLRtJCtlUtGNsfszkpNhRTyvn8DKQIx9q1THD46369MLHZK3CNGmgE+dEjCuQJvDpkdIkkHUjx4a2ZlwhqY2JfMMbsguHuVQzvZdd9AyoWbkGeTkRonyCurwrPrCf/IoyF7VOIeRHMo6vBkfyxi/sKMsqQ9kCCecQprvqIUEp6Idlem86IXbms8H32YvMDeeKBxt1fTvn1zRnSSNjcp/plzev/E4QMipm5fOWlrxkOp0Y0nMG33QvZ3YBvkwx75GQJNEhvHqU3dh/WxO02O0T2aLlpsqgvuQ20U8Ip0VdLCZ7EWtdgPPmtv0zEnxnjbfxyZXB+suOURcH12epiD+prNkl+hXhhZcVC673PkmVMNn++kVQ49P0bbS6B6vyGZSjrYAzsAneXyrv6N2rciuB1Fxc25KJ9jPxU0jTTJoAZoBh9n9I9ubFYfLukOSxciZDXzn1hlnFxpLJEm1VEGvVc5cKCu/z8CIzZ3yKvRxIWtHnFnLyH4diqK7rXqlJLI6GfrruF62uvtJBxKTdZMHkKuXknOhm//cvQpQSI6X1BP4gd6D1c44p3ToUvnCQ1y62/evV2ZHIh0pOg7AqXqY3jmQbBG9pvL9s/BoVGTtGoa0bRxFAvqVQotIAmfDEsZhqJ0LumErkN7Xhdri9nDf+XSSaWSMJb6gnWVp2vFPtryFNmZ/XNlPNkMnfTKi/LOvGbCgQLtRqH1sUSv4xv3T7LVusx67TOUYQrAS5dC4hR5N9GkQdEV7Aev6HtjfZaynWsn9a2aMShZ4DarwgDK9h7Mt0SUdcOE9Cbgadnb6gtAsiJSTNP3PQF2qnhqHoEcULB5wZgHK5RkxB/vsHnn8wPSiJYSUEgbad7JEw08/UHuu3cr/QyCZvOaKyyTqXkMNIjhPQTJ1d23wZ9sdfDhhyw/Xe3eBM9Epvgz01s2nULbOrwGJW27u/h+Hd9e+o7X+o37xQLIVEFuM+VuapzcC8jb1kC2IasOAtdFSjQDAq/LQNPa1dL4zkHHJEOmXVQZpksYaLuCYJmcpZhxOjaERxCpco7HK5oDLcT8dtFujrc40bTSkDuF5e2XftIyrr2ccWkOnEYUPWze6ZgvNuooMEBvWz32RgYU2XU0CgjinD23aFU+4pUjfTbISBOdd2BbyTMBxtGhsdZiUFzCDZ2oDmyzCvhSgkIxqw/Mmn4V+td/AXvTPnvHRjHeMPndITezf8RV5gPeOgghiS/NGce7/QCm+li06JCQfvayF7Osn2d1weGhDemhH5x6EsGNkMpCnridw9jzr40DSkzoKma1u/vgoEX+bfPnqf4/sOvR8sP4E257bfRyd7AI7I1qFLo928m+yq5sJixqq+qv9P/qEDgaiG+lsrwsqJv0xgJcd7WEmYma4PnaUqTRrd4SNKTfYIw8wtfqdr1Zlv+6UDkfKiZ4wRZRxSaB0Tx3lG0Eesvo+qoFEunJ2AX0QQqsu0uoev9uFMuVGdaWAqs2f7HdJkJhibGM08tP6jEddmFnx4xYexl9EBS/oxagUgfa3Xcsjce/0nWYKp0WVTqUWrUACm+IwIaDCDPyNCqHk8CDwQlxhpzzycH1gJFeDNTVoWSGMRpnAPb7f3TLRH+byQr+TcxVxxWBUqyhbv2z7jX1jv+TKRxDwDJf3b+okJWN2ja6WSNW0lz9CnD10p2XgP0miTe0CeQJ88JhVy9YZHHmoibouHBR98tPDvIP/iVy9fpPQtpC9gnZ+diyXw3I81bRcdAk8QtK+gLqm158/yTHjk9ijlnXRtetaKnR/c7xHFnNB9hmOPfDzL1voX2eW9GuThGABsyb5UoWLWc92diXA3COmlq63k4CNPy92KvQ+MOhuKqMUrwxCKfbYrF0fxUbz/Owc3dIW7ZmjyhVfy6hf53rTMHUrnZRwoin15yFr4wPudY7ZkxrNeusR/hEtJ/swKqh0hfyR2adTAWO/DVSJGaMBeXZ1KDlwyWzPZuFB7r+xV195MqVQBo/1tEEIi0jw5+Ia7qxq9+cTn9lSFQmi1zgpG4T2MdjNGSvRoKL80Ln3PYoMOZ2983EkjT5bphQ46j99/+u55/5n9wmlmwoRKlJylaLuQpZCImDdfDjkTsMJExfG2pab43b6/vhsrVeyxjpN5PV6iOXWJko+z500XIt2WruInxF/wsHMWRjwgTBkKErNCXy6qCUKCgva+81xZg6eCUuQWP328lXS+3uk4VSz5UgUP7YMO+7l9mkkdr6y1M2V4sr7ObHaRugH+cOloEDCh4CuLgsjbTXoFgzpuSsOOZBj/r1buViQ6lVDOlibZYKBRXJ2uRpDh2zbjcJRYDuh0G7oWOsUFBDxeiNJtCvkHjmg759e9jMmv7rVfKoVXsh3gfwwmwjdxUTK3Bz4NSdGsMgCJb98VXkBotPPdAbOgnExkSx3ozyDFeS9B3zjoIbw05weN6ibZBQIpek9sQ03MOJY7jEc1E90tqo9Wn1oImPnWVIPY80JGGdS7QHrl5Ons75AlDV+m0nFUMDIFrYPHj+7inw+pe77XXDYoul9zVW1vdTMQyikJzqaiuSrvkx6Phbso++rtQMBZy4cG1M+bBAJTjbRy7PpTbbLSUKaEqsu0zw8PlQe4og8pA35XZuXsfT1/0Cj1g7zNeQ47yQ05F9KyOOcl5/NCKSS1U2ZsN8up6E3x4Df1xzyjXXtfbm57uvPvmk/0hfz/B76J7p/ta5bkc2h54/FMPpChoaJObzeMl/SuLRPW7C/mk08tYp2+2qXl7CSU/Wn9pCssCcLG6HUvbTW8T3HYEsByVIjVON+qy/cORwOPOuXATUHsfUdC2nW3Z+euJEvCui7JdMGM2e7dt11gHAGoBTLAuuBAXDb4YRn+Bxe8F8xXWYzpbuO3RHLd7rpFOajR/6rIdn5izTIKkvHaDFiCFHF2rtZ3zKH/VPWQ1P5Ghay0OSkcKUIfsS03sB8/Z/pHY+ryGlAAyjfAURI0ZlNelG7j4PnPc3PqxvIVA1Rov08CClF9PcnHTOxgNgY+MFKyxYGhygAPVP1zPK5wHZrordDWfOUb5OEPMF6FbTvt7tpCCbwiwAo12ajTKK2CKe0qN2VbgsACWEliclL6hauzi3ktd2hxX8j3ZKdYd2KYdQuKq1ypeGopJ4s+D/g+E7MtdRiSiW1XcyjhBTMkZeUlVax42mV77QeRmH/wQbchge7T4t7G5BNqpuFTWxe+eCEFHe9z7dyqH1bYtcNxYbOnFLCAmr93dLVo5C+r9fZl36Na2O/D7bRJF1ZpNibl+vc1iMihlA7srJ+tgAA10ww1Tv3WhEYCJvDC8kL6J/KrRnULtYQjeA+bNlWxo6EOKyPYMrmZtJ7LAJ66beYGeyf34gkv1SX5D5UuYamsuB2c07AK3kU/lxL0/wPmDAG/8olupLJZiw7GtJ1dt4OR8tczffnsiTcQOUXyuI/tT/WSy+j7gXQgul9ycDXtApm82AVVr6BYpqeiKaIXq5JPus51M2YX1a1xDxAM+rfxWWRlLFWOQq9RE8Olk+judPGetM8cTWYwJ21BqkXbj/KPX9jFSSXA5oSiTtzoDLaYhTobij6GC0t09GRl7nVKFx/TN6yPbss2goSIHbLhcHQ9C6YeVJ9HZkl8p2oEZ3Iy55aMJN1i1mwOnuR1hZG5KNGFUXBGlAGgndaWO3iYpcrm0vDKjYPjBN3jzvY5dNMTsXNspa97Pp+h1KuNBlBbqoNnaSGVUTINBXq8zTKoFeA5eFscM91gJYz7FBvJilir9rGygGnftIpdVH44SiAsQVQlGk7dikhSxsH14/b3SnoHpKjNkS8BnrF+D69nW67rD3uiGgG532EUklxcrsLVeC4jy1dZ4Jz78ncG594CG9lkSujcGXyLtqgcPqdseb/aWMuSNVkUms+nwUgGm93faUAAjoOI1/Tax+pt3JA54OWRfkbA/m++glPgTPW1giLOc5qjTnht4LxqeuUg1zbiaJJMOntfFKElJlktGrcZuZxZzOZD3Gn6mg5qriKgtwib7f97NJNz/p+j2KrKkCpd0YEDHVRntNX8r3A2W1+Kezo+WTwH/G+yhqCiCdjjqKjChLYz7fM9K8pv/lyEMqCC5Sv2mj/nGb+r65OP5FrZ0tHrdpThQC+W3vCedfTHZNAhmJ4skAeqY6yr3LIUZ6RXQzK5XTIkf3kGo8JGDMvgAQAt84tlVtmWdhSBje5kf3LbgcrQJZzMliTvgg47xojjUNPu+EVNNlgSE2BXZp4Cy9QyE7V75fzzSeBuReusrffvHjJMJZtFsi5eMJp8PUANsT2bzYo+78LkEp+HkMJJJ7zfMrxwkYWHHrDQOmN/lxFAMl4wRFNrlOrT0VyWHXRMcdINjhGkQykbxfLOoY1U4i+afTiKs63usog5vvr6rbIpvYDmgqau5DW0ALc6s/7uElSMWPxLGv5G3JgP7NHNzIpuPD2ERAJx97V6WH9V1wcIG3cyt5A4vkO4NthRLGlr80Zu64oLRo8/vHwPCxosVBP2ZC1kJtQDv0vD1t0PKk+CatNmEZYxNZGYOqiLYCzbN1zfckAAf/l9jzwkk2sCrCkkLgaNiCxaC9dt3k6JBVog5YIBrM1wHOpU4kpI0pwv2/BqdiIykueX3yvK9ngjMxDvJ8MadCU1f7dJrZ/UEbLzA2cgNJTAmNTtORbgpAbClCQvQSoAqwI9/iWzbmpYCKfKWEhYQEoIkycMUcfmU5l7xJoAEKhJz5rv/fiv4QF68ISHEhnaH+Ds5BVoRp36+XKN+J3V+l3sHIxea6rY8cz9vnlQsQDc4uCYknt9Bxklv13E9r148mS72rR6Ip0FfRurUx54ujC26KHFhZ/KaZN8eyDh0i+LJ5wyJWsuK0qJ/3PnA1btlnSW/snHQ7rNUE+Aeq0KLO31ipAHbbNLjxZdzbKG9YtSK2K7sXxLWaxC9seDkjd0l/XVjjGvgzb+ZKxUskd+16e38UYy/oFlDLf5FsgIvio17WG5s/v5YaDVeRtK/N+bWsp1YgK9shgpvEFUqQg165m3i23OYxdPSVfv2jMBGySR3v3aQOS0sM7+En5K7Ic8AzMHqM3GdNYMsT3W8ecQHMz10Pf/9UWXIch7By+oWTRMVWbYQUDWinOQm8UdWD0WC4645g7BEe6U65GB4069dsdZG5/jmRM7Nu8Tg46BrwoUYcTz75YS/jpKuCeBOLYOT8aIZIuju38F3rmcP4vwa9mXUMwhRcXmS+xov2cjGpgiqfgqA3vKMKOrn19fbICSS2Y4qsCuuRdZt+BOqtQcU92siwHpqs6djU6Ame5MGzi95FzfLa3XunfYgF+ev7DKPk18U/Iep8xPxNcNjOXCSpxPsS4zpGU3orK60cp95HQomaL3dyXI8n7fIH+Cc9BFiQxZKbs5r0uoPnFH85fN5NjVJD9KTjirpSXdqKv43EfipQ0sSeUQhm43CZC+D86tUGgn5x/KmD0TRHC313uppywoEoRXPGbaoelGWQYQrsF2eLL5xvwHuonXq7DUbhU/d8U2fdPzV6eKnuT85AmeUUJNeBPKJIjuU9MYqZ79DHmmj2+dqGC2K18+uCBc3tAES+s7jzhyRRmEIueM9D8WgE5jSlJVMSTSQMqdt9+uAeY2x4X0i4RQuahkWCU0LYGXvvRR4Ii/mGkdX9BFZlIakD7ppH0H/ocrE1Za5Z/mxnkHI+p4fEp62LKtX7mWHzi0dsoWZ6mnmYnxDUqwyz78VqeobNyPoUQKQtClImET0c3V7AOG1tmNduh/C0J5q+qInHWw5QtP3lmppm+ff5V46wYQDOGHxFeVj/1tDsvjBySWEU550zqGO3ocY8jeovLx9HkVzRWt6FGXJYc20JDewZ0XI7+4t8zGMGafV3ep4CWPi7WuoNIaYZObr0AjoHzEHTzsnY0Ok6yJoRgXIoqD77gOotT4HU6z1J+XDXwcYIsMYz0zQCueHqEwqE6/UzAzspzKQ9TcdzLIL3eJOzZNFQQ0wAkzTNP8yebHme1FXJ4J8/kokkCaz09Hc7nBnswniOc7uE/knbsGOsEph3Q0JCfpIBIOY3ukmWW3wPQeZSuZca5u5ZJIEJX3zOl7GH4WxPu29dIr7AI4SO6nawnwJ6RyNOI9z954fOzrIbSCUB8+D7OLCR1Q+hDvvpx+Fmgr7wKoclz2m3gXB1ZxE6AN34dE9gEI7I67tNYDdgR8r8ZjyxebYSIT3+Pz1EmO8ax94uqhdYZ7FaR0j25kfA/4YDDsb7ECG7zffd8yDctc6fPMzQojpjrUxkQznnedcxXADynfM92UOnYuEIlGKrbkY6eq2ZlooffIAe7Q3tLKjJ896fLrnNqMSPm/rWn7Ob5BzU0Bd5TPMaSKnZwv7KkovFzdq3EYBAo/gkIKLscuqCgCZurBW26V6sLWEwCfURCe22k1abc73CGd8XwbbbbC55DGBncVfJbY45boW1sGLJi2f2KQLfRg43Ym3Qdp/kRw7/MIrTJYvyGaZD1JSTrHLPKcTGSk4Gdfwb0V9Rx8Q74xhHRV7Dg8aGlebEHOQAj/8vji906uuiaZ3M5PUwSrVqJbi3maHc9KIz4WpmP9rCzJb5Hr2rBmF0ZmXpbz5te9KDUZ6OTfowkcqIWhg9eCpUYRViW03xpL3Fykd8xgYp3N0C1e9qrj1gzJpLc7MwFet682IIcmvjWTSuKqNnHuCIHdvDrPobloPtnu7q9tp29DzDzKM+C0aIlF9gRWu6GVALrhddtT6lAF3zjVl6duPjPsJ/GXYGvzLZ21u9saqW6t631QmkSdnQdG2Qkb8jmreU/HUFUq5EZj6cN8K5TQG9tzG+TDvvSSkQ1+FUX8TCqm6emEQY6VH0UGUvxU9v949vU5Jz4SBQA9peLccBuYVvBd0cw36T0dQj4m39U9tqmEXPgBLTR7le9NLvPrTcBWjP0UVAP87CF7q2wfP2YRjvirj7zs+DCefsv7WEJSwO9Wc7cW1tuFP41VOf3dUtYUy3VPNTXPUmimgUQE+r3+T7FVEYbmsHGnCGEVHdbqM2Q3uIjljt0Fvf2BIwJpGxQ5xrIgf9/LVg8t5u38wjt6MKS8NBrbMd4lUidzmydaIKrkdHvWlGIVQuBehe2yvGPX3ot3Lr1donVSgjZZA+PSBLKUipaznzMg/Y7Qgr0xuYZmX0YeXcg/7alAAq/HdoDRR/LSUtLwLrUWrGzsfoH0pts4vfRO7FJxAtR92Qv5r7VlOgRjXBXwpqQdgetUqpxVrqALvqnljx2YIkujMJu+9xIBXInRYISSHjij2nFz2GshIK7qyg6+qUyGGQWc6MIA138YDl4U06pyFxGhjRObwtA4NMUd8x0R8q2SiVdxBwgfjGlwJnYQhHkpXMqjiLqs5dfX7sZ7XQ9FK7ojx5MPWC+P4e/hw7ePYPSRweMeTVpKa4W4I2KPLFT3ok90+4ZUZaTl6xs8UuUsyLkr/iqy2RJFlDkckb7Mx1jBMH+nqr6Tl3NRj8Dc+D5VD5PTs/JAYoe9g5o7ceawsiBhzAwXlAHH28Ykx5sZuayT4/UoAPye9VVnF7WI7JASDb+p6bUgXNrkZ0bDTKv9x+vDaZpMfn1KD+tkODBZLJuI03sCh8m44aG+MouOX8fVi75QiF6d0PEsDDvT8p14CyrOZXIVyDEm0AwWGkrwHHDyLaxX1XOaLksIXGUDeUtuTwu2JqkQnxlZRsjbe9MXwxKGLPPbshJpE/iZ2vtudhzylSjd7znN7Sl1KAdkx7vCta+TIyzOIKf0oKhA+5cdvCwJnajNoeIP4Atq/FCN1LPay58JPc1Jokn25+yoiwwzRy+KB6L+4PqijNhVRbPxlmz7Bsv5igRto3ZA5zuYJtyd3C6FqcHxfpEK0mu9kFpjF9VwQ77I44neJ400eEwqwcFOArFMsGogpWbqw0aIzIZ+Z2uNchDv0pHWif0++W6Qb0TE1jJGU0xGsFLow4A8SN9/zIp/kZaqdHSb7WjwwWgj6flr+XWs/EtNNsEtfSFW0psU/7w7VZFwD8opCKWHUfeAsWjiuJKyUv4bRUyl0XGzm3/KPyJlkUZO6M1uuHP/TezWkm2OC5UlleRZkmgjV4xfH/TKh7P97jqDRqVEbLXhjinxUOOQcrjI1OMbXR97VZKge0UfHcc3FdhIwhGKLf3WOf0hmh0IV5vdGEFQHtICVVfH2bEq60u2MWUpNLDxjRZUHzfrTDAyqs42U4i3TLBGGTA9/0Rxvao5FlUUJWdTjQaU7+H1EfPgZw4KYUiNeRSp29/L2mBow9PtQd3BEgMNlA1rCgKkb43Pvsf29QkrTrQxJIs206PGHWGt4l61P5qD3T1zkciIt8Y72Z5967RnFH/Jvt9bJOTsIo1eG8yjqJ/ZNGPuz943LaYXRmv/6iKupxRAwcccoPRT+GEaSnzgIgBjPsh0lCYjPpVBOvfj7FZlNF6cw4x9y+66DThBcbj5BYrEy3QRucbDN5jxymBZyVL2TbPZdsYbti9YhzO5rDZveh0lBv4/vn9oC9kd3Qhb1BP5Is67Ps1xBURq04+W2HOw/UCzHlFBvAnsCWjYms1HHFAUwrasgu/5nk1CIJRYvHFOBaCzh2iivsogsFxkNg0BdXcI2gsb6wPZe/4Z7eS6s6XNV0OxLPApDuGdF+fzRHkqifHUNMktgKiLGUsrZe8Xrc8xt8hKQyxPTfeKkpcN0q8t093sWXdZUXeGYM2wCxmQAh3380tRKEtxKfSinYLiP0nhNljCiTJUtqHH5fX8A1x80XeHMqo6J52Q7jC8JPLaopbvUKfkhImre+RmzINYJPOoI1p/8PYoBN+Ftnm4T7hxIyIHT/JjMVhQgxzGgjpeFufmDzCElXCOYoNAzOqq5RyPjhGBTTwTLmcrHmagDpxew61XsiOZdGegTHz9IPyUGZqMNRbjWpGzEgJG1w5xWZLOoHvA70aOXrJcJTjtPNIeGeNeJ6beHF/inm5vcj5V03WiP2oCBRcUjv9gn+58qV/Ngk6olJOqWa9cwvF5gJlxe5kkzPRiflhASUzNMdnM3s3/dE34eL8+ds4hTMveAVs8VkDMw/iZAmtngDHDiHuHHGz/Xy3jfkkaxcei1VJs9TMPoqMCtomQZzRJuJuEH2W3XmxKUI75hvUOQ83HBLy6YraMJ7PlGC8bcKz6EYssOvccfdY8d5HyqcIaferm0jE8yM/69tiyrwrFppCRoPQICid/lfZaQrMhPJNeXl/UfLNOIFBtPj0L0e3qpvhwaRlFSXV5eFzuC4c0VrsT4SSq3B83at3JCi5cj3A1hRmcIR0kWZdmR0gvAseJ7Ab98YlIdT9dfCswO6ClY8cSORVxwkey9qngeD1jl98ycmmEu9l1aHlkCtOnb+YaeoIhY+TxIPRlKBVKQVExJXbDlC+mdAMi9My9PUGI/LmRzHHFkga/LJOlfA8eINyTif4z8y/4+o2gYmLcv0AkHn55WGHQfPM5tpwb7+b3T1YNoWESxlJ8+JDAzZSciIfA2Klj7vp69I6PwJxm81caiv53nH4KxOqH39K71y5t6ciSRT6NgPhzOW8MC+NlLXLFedrFE7sG1mflC4J1QMmjtWgI9Pwx9SD+tT5yQkCOrhKi/BuUl7nqh1z8Ob5tQvXtWUjXVqMstmi3lkbSK1UGVjPzXM8oCm1ufRL/JG6qXGqFhPf4ydJyoCRydXQyXAXAFz7yZVZHOjNxvaH8C8FPR2dsXIFPpWdxFjZfhlxXAUSbR6QdC6vLyx5kPUGZzxPrObv/PklxjPcj158CQE1GZoqmKY0c0Q8bFqVJ/cTwfijHX8GJV4U2iq8cNYrXvVQ4nXqET0wiJfUQc8e6NKXBzdA2aLreuyjiafE9UCvURZE1P0vWSrW4WA24/d7NWxNIzPnTp4h9YqTRSqmAy4EqLVKNxVeLY0d5HczT4T9tFup7gS5EaqkYmQLzVRBqTLTfLBbXz9/9VaFd3tC9FBVvdZXN9NimUoVMp2d6lpRECNfBinHTv3gLb/O3GRlbKv167qwzIXOIJz0kjEqOchHsARbxz0UC9txn98sEIYLCvxD80LjHZ9/xZ5Pg1fldAVQ9WRVNx3Xp4SubSu+xOxukpA7SVd3AgYxGinKTXOlefwyXAvsjSUN8PDqdX4F3lDHh99T6hqFVm0U8DXQspx6xc+qIgeyfqHAios3EF63r72l58Ln6e4jex9ZY3HnEz4csn5oHOKgRBs8IiZGn65t5K7RD56SUWxuSDV0b1XP4FZHmwVEzywBFvAmbRF5QyYXyCm0AaVpES1dsOYawPP52wRHyPYr/J9NLUD4YhxRGCcTjVVtmpsf15j+qaIooS5cojKHhxJGnPpw3Xbun7IOT3mNTipZdoruP0t06PH4nso0DjMnKtqS2yCpp3izY2dVtAXCc6Q2sc7VG+quo0XOJyARNJ6ld6CofIr1wdSMgd42SnWqD2v4CXgScDIXBuznpPCakXLYSpbIc2ZBoMxf4H3h+3MZ6AaJLQBVhGAbSEfb2YzppMt2+XJ2jJb9oTDGKfPqUke6DiY4Zwlry0i2eoYLyX8VbDxnwGXPHs/yPV9S/tTwZQda4fdeL2anA2AX4fEhSmdSTRpabUEPitEGYHrDqa+IZ4KOOhobfIH6Di2GzY4eUEJxbiAYMGSRjvFsMuMT40Gx0Eo4ZePm6UwgUbGgA/Dm4tjf+GG4MMYm3XCxJxt1zu2eH9VlPFAUuF9HxN+MO3dQsJkKowgWWgIFEgIY51N3FcJ48e9TcGNulwfOEPPjKYxbwUJUbbp0SskNpeDdGKJRkmI6cB0tWzmlj88qsihf/5El2MaEpSgQvAZoamlfo1lNosm+y0n7oQGG6AvO1kNCsIdTIWnb8aVCWIq5sBHVyXtToTNjTa7w3VzGZ3miLdsa7+LyednjReuS/A+v2jbM0HAPn0wnV1sPW/OXvoPISQsfDMWClXI1wkh3YOM5bMN1IVED0gZxSJodxiw3o8OBMexH8DFy7h35Vk5ycGYMmGzyHKpWn82W0J72hKNhH2mC6NB31X6YpeqnMEnAuK902ujqOdEppZgylZzBnBFzSelgVuGBJXV0wI1Mtv815I8r6LB+aCkuJIvqLX7zv8ICwZ04kT7vVMIGBMBKvZw/4dJN46aqvrIdkjFRB8W6ntjMlS7goddFNecO2lMIvIYJelslcAebO6d0cx1m9XaOBZ1IyfS1VkAku6HdgbN3LtApMftQgAiUBo9aVUnx8pK6KF7+3TryCFdQGHRINlorYLOuY+549rO73/77zoVkIlINcIZ6gl9L6TdkB4ch6ROigZbx+/5qZjvhMfYff9hIQiRwS0QNwgOBv6H6VnEnHQzPtJ3Eqf42DOi6aadbB9TJ/HnUPb8Fy3ONTUICnFVqL1u9/MC1ciU9cBzGiDYG8WlWejObglrgH+K/OoArp6mFZhZ2Xj3s8a5M9tPPhzT9yY7L2BTYV0GSSE0xNJUZ4ChQ1eToalIav4o2Y+UntKr53UEBp6EqWwJkoiVuAcgpviW17zXB0e54bxV77HLU8WzyJCK+zfd/3FoyAtsNkHS+XrS5PmxS0aXt6idUTESolVfqi/xXoiRbRwukDK+8WsN2gjNtoloNPxmqcdvxiwJ8DZvqUPjNbc1NgYWj6PzRp9yl7Adj5uFcrrbcCzDLDj/GkA0K5UjI9k4s4SCGFkwBV1Bfzu9/788KcBbudjKry23BgAROBwlCVzrrJ2YfkPguvuZxgrbTxmIzcxoTqyulorSUuN8JuKAFudhEMPDrt4G5fy9I///8K9+SnyPjedqTZq9cb6Rj6thztDVu89h9Qw4BMN+hUUNVTZ7ZfQA/XoN9fLej2ZupI2Q1LQ/Rs18gG6wlwSLPWb3I0XSKPmETo3g825Omf+zwl8RgDF/IID6SCd45ASC8zG+baFqMWvThfJkjuhvgRJVip8gpWfypAzV3JMa/ebX2TcOqmytO3NQI9H2YNr9+n37H4X0h4Ciwf6vT4yRYOAWxILYAzp61vKq16Umjj+XlDuilGBpzoEjNiPZ+M0SUJ6MYxWmRNvx1HIKykXpFKjjtgdq0A+4DZsmsjumI6xcYiHdClGnrWCZGWYhsFAnZUpSrRUKWFB1jkiYakZpanXSD3vMOo/g5xX9J9y0ESTxY+zQOzwOd/8XvY/+u5CKp20sIaJV8juQiCl5uImhFmfNLgaOdWXaJoPJRunGA2HI6+qcONAkmx+BjtEVN9VVlHi3Fko9E2jbhqR4+/KfpKFQJDWWvo5AWzPljAWHHHJ2z3QVgxPpL4pZg3V7mpqdkQij54EKJtyVI7lecMT21xQRxoxtA82YYEc75q/ulnrc+Yc6yWeYiTWNav6iXaPLKjV29O2BDnE4QqMf0xb6CgpeTPgkPALUMU2Rb5MZwfXUm/bOv+U3JvQbcmdBpLD5+e22ZbV2vMHoe84LMy30wT3nOIhBjhPXySduQeldFNaj4oHjCr/MfNOGE3fkLGXwD4qGBZ7knI0yZOr6zX1qaaGcOifpgFKeklq3IxIj/phSB81sAfl/eZsxBXcMcFNI8oTbxZ9Lqo4NyxmorezLBo7zw+Fxvbuz9iQb/LkK2V1kDsqyWXWHDCpiQz+iJsnlH5C8rjhz+omQqdERAnMKn+SkrDCEyDhtLkHRGTyfIH/TrELa7Ai61Eo42WBwJ/i9XfEosfT8idA1QuOLcTHKeMIl7BYSGTy9BItGArzfO+WnBW0Mbmd3ZNIS7oL/s7bTh+3iJ+uqhEuYhOlD87c4ieYR71yz9JjTG2Y4GepVgeB5ynfDtDuRZyHeIAm1MeojO5sSsNnx5YNKSulJ9dmKwJl3wxQPN3St5hpcVayTuZM253BdIemj7hDytaKpU3VjKpU381WILJ0hKnUO/zHvLkH6A23zm7xHVGbK8jvyRch9bJtGAmsCSRXKD1+lvOSaQtSC57rJ88cPKbNr3UYd1SR1byyKa/fbI4wiqcQ3tdXV3SmNlO24x8tZM4Um5tNGI/YC8RqrpwE/X4G4xLFMKUpJpsd1ucGkLJarO+MkPToZ+3oljOxc+fWrWSJr/dwxcqynggyhx1LRgCH2M3wvIQ4gh5eWmZQ9bRvQymy0ZQ5upCBI1L4Wx51bpU9mNU+lva8lQDScoB9fNpFgvEn/xpi0shAGdhfK6NTezL3ltmYv1Cd5EbPBC7QBx5rKTSW1R0nPyw1olzmzFIgQd744hZxN9ayPa836CGEoq2JHLUzwZ7ajy+xhZCkITcWp3zfk4ZBTIeqwsOpgCdYvhlUpPSwO/wNHzjveryz8fZ53+yL4uHI6LkSgFcHGZ+DhWUefDZ7HRGqTwUCrNAZsfatLsHbSrlBCCkRgrEkCe7vAZR0yy6P0t5GCSnzwxkElTxubF7aNmjkguHK/DByFiscNWOU/XrYa2GR44C+kZLaWWdFzxtpAShhGnIgbJDME3MUxiYEl97HYml2bxg341aJY57xPgbWQMoKNwwaS5WXse338OSCjl7qA2KxY/qtlfi54zhFS6LnyAQeMlrbH3ZGz7cLr7BIwSmUtE9BQMZzObWHuj/ZnfmwMceHZzS7z6ny3K3mx9C4oVR2RvSeOuGPIrNp47iljhBkUJvdF2JfER6VNorNPbanpxK2S74jChDsOHnyHPEXePSx++AQSU/bgONOWbHBNArx3RH1NF1xWnCGPHitWvREJCesEXsSaFaRs6D7Q38bpA5CO4dYPQuEpTGLGJTVpTnA5HMreqA761LO7yJK9oP02n8d/YSTwlhfAMgGAuqLZpgw7w2t/qFIKBL7AkW8l9SBrH+sQ7q/e+/JeYWkCjUKEpSTMqM1UKnGvM3mEdzk2bSQ2zckf6e0z1//GzH6P3Zu7ManNPZBgDYj/yv8H5X6ixeJ9QY33xJsY2oRaZfhhGqXCY24WxhgDVjIEhp8SJD/rXOXqWuqPu4Ciq+jJtLYl1SbcnQktF8/MUk8qWwBa7Fenu93/mTGdvRyjLwCEInhy7m+dNv/3sVjofoa5Q8RWSgpwXxZlKtCrvqWk0eKSKHGN+2AZ11Zzbj1Rc/2QSxZV/aKXDigymlNYbnzzYWr0Iase+b+MPKljidrlL+UZpeR/MFCs0b9lEXZWyu4Q6ZuWcpZtzpPiJ0Cc3OLS3W2Vms0CBuRpTi7T2PiE4tAJFreA1H4XP6r04qFftyGAly0aLErm8mluFhGakt+6soMzPQBG9g/H4fvM/FnRNWnRdU8z4ZTIhXYljhJz5C65o8dM5RSnAYL1WGNXotVgv2vxVbJrEPaXCTQhH5F8qLj+4xQD4FMZpvD+tRvvgjGR4pxxcwmqlDmniKeTG8sN4uRiiBFHedrS33Xlxa14nADDO+x5m+llrDEYaZ9gkFJ7TgjBkpcVtbtgZMdWT2phL4W5VXKYmU4f8VZgPr00Oq6BNP/bK8mp1VIK+s99LIKjdmjz8OV18h600zxTkeaBtTP1QhZo5PYonGvnoNRNV3TtnVkEPjAcKXBlJV+Wpa2N+A1WUFhX1dwgMtVCSC40AvI4w5794qLsGTZhh/JMKVoxo+Vv5LFHNYSIq81kQ1lzXEcsrt+U27zDgUHaI2oZhjromERi/h1/B2qdPl0xd9d5XrfF6lWZSpm/JAAfRWqtXCnTf1Y8B+ISQ0sLG+vWR9tLghjXXDLUL+OIWzboLtjPbxNtY2L8S4s6tuOFuqzw5gY84viwWPSmBWw2GS7edgCK+MN4zhrQ2dFPY4txnBAmrAo4AGEVTAeXPFH3eQ2tQEvK4u9bFmj3zM9DsD96gfaHJbaBTKa2J1w8PxNqikTpmnuo0CtE4TgNw46VImprUnhQf84k0HuPOfA/Yf8fPIHbBIzs2Yq+f7MFvuZ7cjoR0c19CInuBWMuzHtevaXBpV0wBRRMXAPAWVXOINSt6lkUoiJ4MxNaB+wQaeoOldZlAelo43Cxn2xuTSyvC5HHWoAAiG0hALlNcXvGvhUw4jN+05ZwGqqLj4UngZOwjfm8aaglK3l5yHyQ5V40m4OvAksa0OxQxZD2Zdapxfb1k7/atvcbatu8D37eI5sbmHjU8DzgaUdwmyPKawl8oHRuGIV/jw1vT4oYl82cs3sOVo6D6J0Ijn+VNS27PDGFZfixoZ3aYYu+ktqcrBGM8dJXeFcNGGmypVLA4Veq0JyFsyA0L8tMZz9jWILMgtzebRS7q9L2Tueip+GGhhwWyxrIWBU1sl4rV7I1hYTURZc5ppy2jTQ+ugOy58Xh/hSXaKFhdgBvF1SPYTE7r1zMmu06Y6AZYXdnBXA0EqyzjTPZ0E5TYU3cj5YpkNhK6KjGI/d5jAVXj/YfbyohFwo/9YSPBTdwy2gXAPTpAD3+JhgU7F6yP3S4mNhhS2rTkTuZRUD2JmdNFWyU2R0Dtqkj4nw6w+JGhFMaDZmV1PQoJ5pMSrlryXime2Zz8VpTP39n5XNuZTiT03RlowoySzm8YnFFzNlJHsjFyD/v9dkKsus89RXI1eKaJKcew5FnYYHOBBtkuLVNJk7Cqe/Y57zUCFHsy1BpVsWYsSL7gF1Z6vHGxEyMbeLcTYu4Q3slwi+IlXIomd1DIvxEIeduV00n594ViDLB1O2BHzkwmweYCOq3ezmsJcMTiIlqb9F4MQEgUjjLdF9nWOsTi/rcAdBsRdbuZdOvNjK2ynEDHl1+ssSusbjXnPfF9RkkjETP5C+bMF1Z2DtevQGHArvBsbG3u/e657+gVes3PMCW69a7OS8AmI7KjtAuxqzPtAiIHJeTLJzt9ywdI5F2mA4dzDO++p3vDtJHwK/t7K0RTIekwde9KhM/g1veflSe6uMuoA4GiDT0UWxy9HUjZEE3jlZAr6s+DCJx0rdlms7sBc9Xv5j1soHN6Ckl/Bd5F1ygH33p/T07w5aRTtzv7sS4wJObWz9VG4qDhUcto2QsFobKrCenvbOsc/fpgo8VHCDrtL4NV6X26Mwkc/+VQUWxIH4mllLHi337Kn5IuNba8UJhjG8OoPZ6b4x/xzjj686IyBvlWCWJarXA4Nk7Erc/UDTpTUaUUyvUHYwKvyD0p16GXEompd3e0iw9i7FA5pNTrkJD4nk+n3wdYabwSflVfArLqx1gI8z1AczxqVMQU5ilM220RRB/bljun6iC/y+LkNZ7c9DPmXABFwWPCU4tl8mPhSTNIWyPJJpk7zmYg01/IDAubuPk1qCq9I5+up/WSmt4CX3ZPwlJozvu7Hm030ALAoijkucca0m85QJjeIZKs1B8itCfMwySCQBvRKfoLcLcnOgpeI6i/iHZ11J92NIAimlFqS5zncg4sMK6d+eoxumw3LY0gsdX7k/e4nMy1nFHvAgIsz7XFA731GwsyCxQG/oNwWJZN+dYjEyQjvamJhPhyx62WeNCLHDQ5UkKsx+AtfNPkm2N1uQgqU0xWGoMaqsIXtGi2zdn2rxVpKwqFuPSE8jentRjonB6cgJXoSkV5PcsroaKIZoJSntg6Ab6GxfF8j1Mil5szEelX/vmdgvvlFh060bsGLFjG9xZu2azB9guTAivACYr5GVEHy0vbxp3o/ExP2hG9IuC9ccfzwri6LnjjdT0Vink9XSHH2lnLqEpHMxSNNfJjUXDohr/bazoPZv0sHvVHGeOUZ0VLAMV0pSi0kTPiI8bxpJ/ukcXpwwssbZTeX2Q8YTYOIwAb1Fdb0wDr2CagFt03eWMhXMV+GWvctl/M5IczCr6yb9R3cC1DauvZ2x0N3912A5aQV2QphhFapHKFDAcycRe8epb9+6JKZLrrOt7fLWFos4BtXQEVx9HXBDXscZSdRZXgQZz+OVEQmPoN230YMqmo0rDRbP7R9IchH+laS4foqZ9oT8o9pOa5pK6ewQ+EvHi31Cw4m13788iMzEboGLWzrJtLg48IgFWkq6FggCtVPXTqd7H7t0UVK6oV4RVbAtaroH6qtiPC7mfsXdZfqc0hxYhyf8PU3WRGbyQ+GpxjACxbzuyU9KM6FM/AG79rz7IYbmIisuzTHPh0jphV0ELlggT1fZg6ehjfJZP4afTmkt1t91LHU49Ni4fsZDeYhgkJW/55bcm8Wt44BzkUXKAIV4Ds8XKOwIvWYBk+lCIPG27u6ggoYq09zJGiBXHpzboh5wxPqSktEXVJd9jEwG8m/dB0DL8Sv+1fhsTauPEPL4/EOgOGlgvDSzOvhazGZ/53bAwf2pVD16FOELjW2oR5WtgeS8GbDhnWDmDMmtdGRi8t5uX1+uXDsIFZ9Ez+yXHvfsTEruhejfvTL0y0tMNZQlr/WlVQ8K2O27OtMlBnc7KiaER1ZT8jPqvCZppCzvpGcf5IHeNt3GietrCAFFqsdZQ3R3UXp9NJpDjuLArv719WP7+vHyKl2k3Fb7cjk9GJnVGLTjQ5DyqKfsEmgq+uC9MkWhuoyhqgfSeny7R7mwJoStZf89a2tt7WUebf2syqin/nchHgRW0i/gTe5u1o+4VXuRsHRPHx/09faCLf75ApqnxHdUhwRCHGUCujnDp1djduS8JQIQmDWPyBT6kFHePVlKRk79htlCUpnQT3ZbYsNJu0vwbkTumymoHxpoRnqFKrc7+kZ6Mcfxs9zUOpkSGkaX4sjXkSodxcsepUK4qGqSCzrt9Uq4glkp53RzjbSFSbgWaaKaRNmiSs+UIKQdmHdoOnDlw4lwModQIpA98QNodNce1xAUjTxBycw6OJSGJb9ywl/ELvpHQSBwgZDw0MbhoX2tqiu73WkGYG8eRLPY8FwFtASuQD93fQ2AQ4OBGBjOBhRV7MoZOVjxLm94TeWq2IwdshjOonkc99WHZNbUG0v0L367rgPqMJh8ODD0MSUGsSyyCTyQeEeCfM6QOgIgY8+1769mTfMRFxC8FgyxWHbCzPbCSXLOtX6olY3jV9lSTo5WuDKBStjqQfYLfU6hlZVAfR8E9S/rEKKbsn5el/JELF7iYaZTJN5lzX4fFUSMNpAV6vx9+FYzrtqFha4Vge5VcmuSsqG1d+jliGfWhs3Z49YqIWz8m90Tyszd8U/FvNpj772e2WNxLB0GcTh+8YSOlGALrLUFojtdz/0dqtuAI6ydZV24r509VkhUNZVLXgpJvrs94ejepFEbpzTUeSiHI66JpEJj8A5ULSZTCs0UC1ZLbAZiXQQg1ezabkglxrO6csPG4YKfplCCgHlaXSx8fBk7ZxG22HCFZx93DIS+zmCNx7zg4FtfJDKAb2e9htXIJfxCJgpElWE3qeQafb/nNuuEiNjk6TISerPHwb3AT1TB4RDefzDJBKvjkqXKHHvBlM4kPOLjCa2/tO5yDsXCY7luzfS3gd5zWRxTLW66DxVIZLGv98/rbOOOC0RUDGr/zavysyke90tdw4B052WRa5OZP0XbQFpBK3of503hn71opeRtGeLRRNZD2qTXeSouT1bCaAilwxz87VmuybMm37181CnZ/Dxy0UNEpDAD3mNvyiN2mPCy76vOhqaUxS0RvXpO3afUultCu6qrKdb5AxvzIOIdQyK2dFwbLy8D7wDVkTWLeUS2E901hEzwTg7dxbf6dKgv+26l55ZOshMwpS0HuTIOjXmpnK4GNMcsdyRqMGbkKP0iQqbwOhvx1MTB8gnp6W6R3komvtFB+vqHoSLVWjlfrLxd7B4luhX6CqlzZY/cNceqrlGYgn2s+xQcqXJy7cBEwQ4zhdCr6qzRgmp/WrQaZjh1Dvn1SAdsjk/Qlo9K5zBGZHpWiFjunIM0ZFUifa9hGNW7WekNBthA7PwkwImQqyKFPxqkEUXx8XYxmhLp2ZiXZtJ9U/DGeDtE/nZ+4KO4TIwXcquCLr7YiekIbg+mSwgpQkbzBiphjUBHJNzHTh9xOlsRf1YRLlZLl7BOK6Mk5b0O2UqOO3e0laDsSWdoS6v9xsrWesftMAh7K+UhlsAIDKflWinq+uW/RQ9mxYeFPVr44AF1d0wCDK8WkTVAfxkbLTbutVxk+QQOE8N+waHddgF28N5lRTm13hdRX5/088qbJ7cg21O9a1Q1siZsCgR3e8YGGsvrr2uU5h+1liZSEJLIHWURtl5JN7vbbflbWlvbtPLoLbeoUKH4o1kZJs7eAM/qgbhcanv5ZjDb7VulQP116jy8QiNmhCNtl0s0eGZjF6r64tBa9x0RGmrhRD9V4MAXBmAXG/C02Amrfyo1lnBjfshcUSGE33IwYe3AM7Vmlrr7iTMRdqyY/O6tgi9iHkehUH0WNqyn02nrIqta2b7lCW7Wuc5HL3oJjp7JuxOxNof0p52kjG6nYbaQ3TplEgdD5ABwU/iks7IbrQrFG4EikpSWyMx3qBoGJhFsYGaCxN0acp/sBRQ3Dnc/YMIegFeEb7y+JrjnbKpJe+BDQX2ov2RYVbY2Vf9ZjnRlsy+dvmVmkN57o9zD3NnuqEb+G8HK0mWTdGXvLXmq0NuREqwdPUVUBCfNDfgl7hu8+h1szRC0zxQ5rl6NqlZ3tOW1s+2k82+IPlNEs5xrlov7qDCpDLe79aXvmbtDI81ViZsTLpfrBjhYFTccKZEXZ74afcexmOuQKvGSYhjpOhXXxkuN7P7sG6DfvotDVH4eYjwppooT5QtU+X57G8vA7bbTrehijFY/8yiSewBarfClQPBmnQPZi9SiF87eG1HATFjvawFleEyBxNd1GuJD4e2PAb09r66A8jNzCdPdGPdDj2/kyil1vrLAPNgQ5HaQYmDXp/jyEhfwlvRr7isjHVca6gBADeMlGGiMPWvgUC9/z+7XkKQSK4AIp3WZZGGQljtkA2f759IR3hS00sIkSXR46wkLIVM7sabOJTsPJa0c/4Zudv3Jwq8wN8o+oHpLpdx2WOs+IwJpV3pZkyTWIRO2yyCVTiH1xNFiZaEE+WJSOXtRLglCWw65c+nqU9kWzYFj7+X2a8KsDhWv2EYQFgPLdObLl8R85c00nJK3y3+S+hwGzO66+9TQPzXXXLWFj3vtL2YhCPYr0vKYyzt3XOtNige8E2eT4uCGEoXRi3pFMYmYcauphFGsfofWv4/rw/vLp4wzBby3tHJf711kHgYmIZ5kcpUUEXKntTCNiCOHZP6QjawUwpcBXxbIW5MO9dB55+FBzSOPi9SeJ0hgzisOz4oRfViqxSfC1Xp9J54CtbN+wdxaRNDFtG1nt9j81GARwLWD/aSobbV7H2eby5sEb08QHHLAVAfKplm4/fvbZ7SBeKqILYltVe293FUmRDM1BGiKvVi1IWRi8m22lFEb09SC2GD0MtdyyIaSrnN7qeqwYWk8jEfmp64L7K9SxYBmoI0CTzfxtGXEMIYjmaod8lnAzRB+7RSpzV/BG7BBKJg1Y75+UYFnmPEulsrU6/DPFCqYAJv5wRCXDKpdlD8M1OoSN8fiV7Mlg4WDa2Tpl1cW2arWLoYAvmQaY4OD7wiSuqEJ04X3mMKftXYD9uC+cI1Fonu4Kp7DKI8+g9cuVcl4vm0i6IhTqFzqtdBvH96udmX6AV0l0tA5fPq0InY//4L8tXFY9COpWfgEwubJPbSCQofQQcJvTuS3YTa2LCjiabHnai8dwlc6QEmOEvdyYftOwzrgZlICo1g/LwldAo+5/pjMrxTgMe8sy29DFHpaIiipI4jICbnHakH2nObpQq0xvF3osEMMAqBtxFrjygTf0xuhqLP6G/5ut/x//Zplr2ohF9Fe8H6Gc4GAvyKuQMr09yJEzdnHa1F60MJqyAtbzxdTRX5FlQw0sGPNY2DCZG0ofh5a4UrxUePrNKqMFgjNpEnALrfUDnYYHHKksMSzkzpbHlhB3nLMBSNidDPMxdUPAmvQte1YX0os49JXreSn3TjbpXPn3aax9SUaeNfXZ+O+8D83nRFexuWTpMtgubFyDkTf2Ae0LJod3Xs+K9RRUy9nRUPB1rMvDbmy3cOag7uyTxjaI7JkRTRp1ruVcrE8aVOE2QybMrgQ+9rlBztT+9lRENyIZHDibIsiztVwyOinuora0KIFGQtLOUalW92iISLv52ooRRkgJxN12BdeTKaNhTzJA/GSuvoZcnKACd6oKbqq3KMeIxiw5C302hvwWyLTq+Ncg9Q7Lr1YH6vEwC1c4qd4pV4OLvrpXQL/mvIKI9bCWBIdTdaxNmgwiCqnkpIxKJkUlx8EhKoprFCK0eZT9rbLE24uEc4DqF0fF76cHFTzCbhLUdkgFT5Dl/gxOtz2bh1UHQb1venCxT3/frL/zS9JLgvxp0ytiyrVkDLBzvWtf/lf3xx8YY64rnLHJWt/Siy3Aq2g1vtsFPCUyIY9BFtB1ZjF7Gn6IGpJArmkD9koaNfBr/SK5Ir9cPCy2y0iovJxnXo8CvXKkKPBx68xgb0wqmYKv3CUycQq5D7koN4fF7MZWGGmpr/YKt15RCDNSwaDJGRk57ItfvMdYBVAht3680KGkL2nkoxL6WZMN8+KXxtTKE26ZB2qQDUPt1h43/NyhauvTaC9UwVtwQR5r7I/P57YTTHUk/Fw0M0TcWpf3Jrtyd2C0fVJ7BJPKggodR2AMfgnq4ethe9xjdRio6w4ecrcHOA7+p7T1xrbRnDj8qM4+LQvi/2wiiEGHIm8Ka4L1S5qjqxM45i72qO0rrf4V1iX8EJXSBE/haU7+P7/DBMdkI2R91DMNauHxma5ZorJJtJ2bwqdihRzZ+6s3xjepC/rFJ0ghmp51gC+To+KeMtg+kGUR8WMhrU6Yen5/7RXEHiPXv9ctNpp0G54uDlRuZGmB0fs9GGnUPYfiC9PNojQIzqVi66icGMMCO86h5K/PTBszX6lpf0PMdIcct8O8g16kqRLFxRAjInvod86pDKD/bpUPGnt0JCoWHUre4QnpT/6x8n0SUH/VBCwtmCkpQakCW8LpuyOSuav/ghwi9hbHvdhR6dNoUEpDfb8ZU0yBpGbNjqiVEwzz27o/H0AiJnt3zsoczot+ZMn2IvYlUJExfx9wBnNnX5STsx06bMZsyA69MvMi6zIPtXTk8IYgt1+s/p9HH76mrJso9+v+1+fxZLCK6ay9M/ZHG7DviZ0z81un+M4a9jcXKMGfwCfFYVU2514Tw5cgCOXODkxauyC9llgrZ6MD6rqFgsVgq+nURJJC3Icchr7axFl3Q0GyZW+o7I8mcYDX2LJKLjRVSclNH7qOYQ+mv55xCXQIItcmmVtNDvx55xLYLsSNACB9TkRVQ73/XrdeXUMG4DW1UMf4CPs5fusQwmGZlQ47vKPcysNGUsK4/rsHFZMAKwmIKxwb1e3eD4XDCt2ehXwoLsBMzBD1i8hEaxRqllRS+bhMvCbVJKmbcrlXqhHKh0+xUMzWDZRgJLKAZ9Md/ps2ZJuoOThk6XkoNIGYloBOVlEaV/MwIiqKuR31FCdhX+3c51a4uEO725WYYe4DudWqNKNggGjG4rfaX93Q4GJSJowrz5I93NIb8LLrWQyy3hLQ+WSZWpSadA5MSl9GqQh7tD3vih67OevbXealXou8EJq8Uj71lOVtECh+zYnYFTH18hwhJvyu/7mJekiGyrdW9uWH6kjyLk8KBnhn6I39YLs7w+g7aizXfRH5kRZmR8uPXxIBtRH35JlRM180T5yeXpcAyumfyihF7a0Wpz0B6+aq9aY3O6UXYbJJqJ85Lo+8nMEVinBZVtFch9qPmtd1p7xrUWNDBOvfTzGiNmUlZ20YotEstMaclTKI4xtmbY75MPCbC0cJd6FsVB2gzfmr5kYkYIpu3tGQsQBsB66ePwdNkJ9v0f78KapUdflaqdRhAcddVkfUM0T9izc5TOYbkZRvi190QHB+lGQ5X4piauvr6BJWXDC1cWA7QATkezsUa2+DErTdOc5r27PqKdCzMArqiLuRVfTiJ98zjx/qQa1FFtw2XjLUaDyuJZylXe5CUYQPx1kPRN/vnSsChbMXkZa6MU1Af93Byeoc6N4ZZxFO8KU/l5qHWCDNwsyq6+qK85Q2imBYtRljGg9dL6RUKbjVSxDm0K6/BlMlBnohKkL3zoc5xBbR9g8RZRxd2I6aP+QTruI5++gAQh8chQcb5yDl1fzNtyhwE6yvfkB7Y0rEe9JpjfZSxJIH0Ah67MiXR/S/QGnmgKhY9HD7vucTDOlEVI8So4u8n6Wk/fon5C0bQmgc/6g0OqFNl7D5LnJvHiawez47EUb3Fg9K7QE9eNKhs51FJPvup7qlY6shhMuSUaWHEcZDHDZ7r+jMlcN7rHUo9Rcf3dQRuoxZf9UQODfp3cTK9aSFU900O9MnCmzR8yqat0LFJHOLXNBEc9Op5JrIwRbWsHXaqN9rICtmF+rSrXtF5pmaVCt2j/SU+ZkO2RFUl7UThWRj74nyloUvOuaU6MqAeBpkT0vE1q4Mximmy5GLFO52WtyGK0+rsIvoERt2nMw1vX/ZNbDawQuvqZmv7zgwQoUpkxRf5eRh4d6psHHeqYYuEORTrn7d1uMA/3nu1+lDqi7HJXoJnV+9UefevPEsw4uYrQ/9C0ngoUsFIePFsJJoDooOdSj03kbazguai7FnmPIOYKeghcmSAuAEIFkibxueDVkeGkuxjIG/62EahpfRgEja7+CPEWrhvIvyfv3WGvt91ctMciLuVJ3/Wz+PEzb7xTmxOYP2WdcH5fyGlyyHm9Bb2TTbn7PMzsfoMWtKIrX25m7TRWwGRww12EE9F+jtcWRia+QBU6skvJWKwjO85fCPy5htb3LfsW45DbCkEQcuMdrERR6TAcnUCuhalRl2EBiDT/a63htFJQBttdO+T5Y+QCJFagD+o0Cy6m7R84xdxrGjjI8Y7hFsgwO34WxmPS5u6tK6WKsdFi72HJcboWfYgIQCLj8reBOizm00bnWYYrtdn9vdj+OftcS2m4/zMvnPu0rTp9nQdcKeCUZOUdI6GRnQRH4ESlGqjsgeW1A8+ho2TgjvxyxsYQNaUs6jmuJFcfdloR6T4EDTn6aLHeK/VEdudJ8LDBbiwoVdONSaG5zYBUzcS2QYzWieF44ZuRscs1CGXav8Ah5wSUnNhvVRSwYi23OvBvbG7WOgP2DGI1Ap8jMgsJ0zEtF/RYg8AieLyvA7lfAV+cKyBNc1B29oBhVn80ubVpIW6HYbB4DXgKnq/Ja5nliV2V+O8NnO7ZmKxqDOTMkYp7anLnu2hyh/Mdyq89GBjCmJs4RZib+fmK6XUqilcNqSXNbpc21fYJCMd0ZDX9VbIRPyaw/fldVNLOxh217j5R8xNl+yVEdyoT5cmhOY3+33wMWq7ukwmcZGslrELpDCe9g0pM0SxiHrApLOHJ1YQwCNraGy684FSvLJlR89an9YmgPBoNVoiVWWS9aQxk7GLMLR9Y9s7cXDkMWDP2236SAhRw/uYJKv5J12eVsOnY0SrR7Qcr4Qd28/oRisgnuYl05RCWct0dGpLjihP64V+I43QSVosWysK4qshOUDEZoIqLx5LIsFBL2aDolJ8Damu7cnQgIQYK9rqkJWulbxdsMF50rrwLnzRQWQSx9jP5xF0wOG0lpSObNs114Ocvj2btpEH5YgRDINEfmnlNkUeC5TBvIZxLkEzriNbpVzcirZXW0hd5gyEMSzPV9GYm9YujM3BunOCh/xDNE7mSp8+D0T37Qz/qCaUtd8IPCjpwWy7rMHLrbNvSVsUFMhxeTAf0fii9qURGum61U3kO6gcNeDNQ4HQ5u4itk9eEIM8luR5azgvizJ+3NWjkKwC5zMkFp6Vgknye79IvxbQYT1GEZKEaFmYSz57toA7XLDXwfNL3nQaKgsmv9y9cWM6nJBtNd7FvwSNACI+k2htC5m7AG8QqVIt8JaWq576FRj+ok2MfObkTI+Tgy9Tw2blrVoYIRkNlgnNhPLPygtYe9w3n6i1gj1B9ltqELi595B5ECnSks6aKXheR/7DgkxGJrMLO/6t8eXF2QYTOOHqekqBRYqIP4XDneknUi5n1xwVUXna180pV12XyfH2mcYoLx2t33nM9VJP9cDKaBuvfTGvPColtfulsV/uvPJuoiTxcSaxoeqpF7dxFNOXqxa3zPVlfc42Xyx8tQULBc0owP6XUzhlqpawQ8DxW/tLY1pnHq48KEjj7sfuLutGsdu17hd4VX9JF9m9lsKS04VKSj4iieyT89MhMcd56E2H19IGHrByo5ShSy0ui6uQ8MUnJPJvF4yM/3H0NNzvjie8dGt7lInxeA2QlyiDMnF+6ESi6DZ+oczOETtJiUAt090i7jGbh3OgJu7JbUBhb4bKmEQzFWBJn2HFTX0Zof8c9/Xjl4cVswXf6DhqPXICoZ2hL6VdGa7I7UeB3mlkWuYeOTu1yRjqqqgA4hqzlGHpEtzA8dE+75HXFmE3tM53wr0Syo2+J0hjr8L4HgfLO6CwVcMzSOLhjX3/WZkVlnuzCQmSF0e3ola5IrhWxCLQ0suaPsrD9N/yfJXomzmDh0ZnQHQVQHGx10giu+qjGwxme9IXT+SLF/drzzJl3cNl9KPgS392+o6rnjz6A/nuP5LH4eWRXHfs4IUW1O8CYjw08bzXvcup8OvC8p94pLB4ptNyqk25Hk7MGomnYYudh9pbk9mB3ZiBryUNTlFeriUAtkVg2ZDHRB0dFtjykSkPddVuG0u8ZL7celRdA1CGGS1StkBhU4TOVOuQWIaWr3Pi0rRtwndbMfVQRUB2l5PnIYAVy5cqLXzb0Fi+Kr7WOefK4g6oXMewzr+7qmoxRg40WMa/fpYEy4hgaf1H42b05zuaLN0Dnewo4Up9IM55IYD20cKkdNfkQNWuiEAWUuJjwAv3AwL4541q8O6NkTlAAzz5QoqBRuLPiDfFjErLQUSJ73xgiwk9oKVvJ5/MQ9CgN22yKfO9sOhcnxNNuon4+nd27cRByaZ5Bwx0HItezWajei9hiuova4qoXVFiqFXtJDf13QPhCWrO2s6RZ2z4XlsHraYW+zN+y5udkEyYCkBJbyjeRHq5XbNu8tRFt/9aKe1MRLmL7I50/2aF+e6JzGpy+kUnO06s9ywEVvJXTeAhfItIkLh1l8TFWO6zQ+ujLMSgqPsOt/hcWwFP2ow0BBbsrnsZjp5MmG7cCu5au6oxqNfrqUl6upKZsqSw9NJi+BNL6WzBYU9QQd9G5vh2F3HHnXpmrFP4odYTTv2vq798dhh7fhpnpxIv1f1vpY5fNSsiZow4R32I1g/Ru3ZAOtDhH48PQ0CFfVjgTYqmS1tscxpNHSkISG2pj5SBpXIETWGlvpKQMawsaoUTHSFivkq1BFAGupSczbnzHSH32qEnJWO3vj86qv202ZwBBe03oAUzLUZF2sfB0YZn+2NHpZSDHMbmcjkZvXRfpTFGSknwMsDe1zyQ5I3qHlgOylAHetmtdboq4TA94YnDUm/ZDQvsK4cR/c+TOTyHszvpQgWrUjJMNhSKWGYf8fNslSgCKuHzfppJ6LV8gRQ6ZMa5spxEkKOqE79DF7nbgMbTp7iVOiaCZC5ou8MJn0KCe6TBt0vMhcZZQvfGBvgdtZtnCwmfnflzcswsUTJ7KuiOofKaJB3+lDhUh3kXoCQHq6BPryB10ComzZOU0lInTfoOkuC0jnulb05NvtFxwz3njGw0pMNB7pUwQe+XYMIFUjQNOLusOCCMQ60ZrgyQ+KAjVTn0XyPstp9QW6Efm9zfHHEAUj7/9A8s6P3PvISJB5OOJqGvecRDj5FmzykkMw8lm1wJXg4rV6c6lg8L3YjLT/55tMVGGbTfkfAocMJrp86yw9xCgmdhrU2BV3A4iglLU9s8UJ7HMDUGxeQrOlSEvVOIEbQGde6F2jeVckCbpcubY7puNWNaD68TfGqX/aNroAHvqQBohFk2D9+Qaj2mjtkonUHOa1M3/2ogIw9F5P54rAQ5tvRyRvLneqDXTF/0+jFKI7b4hWmu5DiT7hUrSJLdBaO2NPfzmtDQiHItpOrR17YoKeUdP1oMIY33uoa2gjhzK9ym7GtrxX2q8rY5c0nvY3MaYmzkiQJQf6IlcwEe4kmrHa4a8gc02ZBm+pz6NsVoDgCwxzTWvd+dK4kRMeXfkJeHlFWwcesbe5FpgU5fRFXqMFuiavcM0mkHXpHhPVd+/mGEyY4wTWKi3UX2cSalYQmw1DAHoMY0vfxsycqv6E+rh2BVHDffbevQSbw6+DIWzIvCjUE/JqE4TwzgPou2AisiS2k7XzS0B7mr2Pl+mGebQsTEIwNUOt52aX+34csNhMwji0ljlMMQpXjqOKyrPxr75wPiN6TdMLE+2jVkRWKwLmLmoA6BcHx8AfLqTcZOGKjK/Ou4zRQMp3Njm79HrHJswdpYq/2chYOgLGz7npYPhGY0wY2aNV7adHGS4Sh2jB2Td7NoXciJIwWI1f9SlT/KQczIa+6JqV9/v5b4pBlPRhKTbw5VH62D+SG6PHhO1Rog6Sy3xv6qw3glLef+3T39wZxuFJkp8S4ibX8a2Lnj0wcPpbZncddPfqNzGhDL8niORBkf419l/9SA2S4ClzF5Q36Dc0487j8hYq48HZjU8mEJsaFv5NlB24KzO4VRo9g1jv6KKvhkzQtfdfdsi2s7WUN/qIAK4nR9sJnxKwBI4Il+foW7kn2TCg44j5F1bU1ROwbYOiPjbozGRR2eHW2jPA8gx4LIxrXe7p+osFU9LBmYlr8vMocoVKbbrKJIJR0ELVxrbR4Ne7ZnjgP8XM4SLLKIhG29XWhwc/2VqZovWpV1ka7sJ90DFJ7VlL1PRTI0sFhG4rMnvnRs/HLToWGZNXf4rbDzK92AUbCpQHeJLVfYamgRhcSzAE/eXndnND4tEkgwzvYqthxrj4DI+DUwd6VLuaYzdKlTgw0/hTtq9u59gEmDjyT4+WhQt60fQRIjEcrCbenPqVp9HoVC7n5z1r+/n1hRwULW3V0fRmOpfxdE0S79dqwqLmfO+v4vfdLTXnV51Br5uv5VUYJ4tvu/F6mm+vx/qWhflbNxS4zfmji+MAKm0LUJkPU/XCJcPftia2C6NBUyyxRycajYXYjrt64v+uSKCopeLGiu23ysELtHt7h0CS/BTlwco4v4QjISfYMxLjA+mczQ7AWJI3qKHCSqLGLkT4mmGwtqWH5+zmmk7OBA4LMvXrDmfCctstzdqMJVK/n0mrKY8G+FEs+7QtH2998MsGAbqdrGfh9Cah5EFCQpnv5a8lvZVdiJwmznm66+BD6prvJSC8+f5QyGOvtCwMT3CkCa8//VX8itgyhd9gybZSb9tlQtrEUkjM9yrFiaDFP3Y0hXgY6j163PgxYxZ/4ykBgYHJ86lIjr4604p2QCj5vNLtkGT4f/iGdkhA/DMmzY4R/7tIP00dqpgtGh4=" title="Mekko Graphics Chart">
            <a:extLst>
              <a:ext uri="{FF2B5EF4-FFF2-40B4-BE49-F238E27FC236}">
                <a16:creationId xmlns:a16="http://schemas.microsoft.com/office/drawing/2014/main" id="{2F0F2858-A353-45C2-8906-1A87BA352020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330199" y="1832922"/>
            <a:ext cx="7462836" cy="2581538"/>
          </a:xfrm>
          <a:prstGeom prst="rect">
            <a:avLst/>
          </a:prstGeom>
          <a:blipFill>
            <a:blip r:embed="rId18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400">
              <a:solidFill>
                <a:schemeClr val="tx1"/>
              </a:solidFill>
            </a:endParaRPr>
          </a:p>
        </p:txBody>
      </p:sp>
      <p:grpSp>
        <p:nvGrpSpPr>
          <p:cNvPr id="32" name="btfpColumnHeaderBox584310">
            <a:extLst>
              <a:ext uri="{FF2B5EF4-FFF2-40B4-BE49-F238E27FC236}">
                <a16:creationId xmlns:a16="http://schemas.microsoft.com/office/drawing/2014/main" id="{68281F2A-21B9-4C34-9F62-35EC2B041759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330200" y="1300778"/>
            <a:ext cx="7507288" cy="288219"/>
            <a:chOff x="330200" y="1289037"/>
            <a:chExt cx="11531600" cy="288219"/>
          </a:xfrm>
        </p:grpSpPr>
        <p:sp>
          <p:nvSpPr>
            <p:cNvPr id="33" name="btfpColumnHeaderBoxText584310">
              <a:extLst>
                <a:ext uri="{FF2B5EF4-FFF2-40B4-BE49-F238E27FC236}">
                  <a16:creationId xmlns:a16="http://schemas.microsoft.com/office/drawing/2014/main" id="{431DAB80-A302-4E7A-A2B5-68C13958BA26}"/>
                </a:ext>
              </a:extLst>
            </p:cNvPr>
            <p:cNvSpPr txBox="1"/>
            <p:nvPr/>
          </p:nvSpPr>
          <p:spPr bwMode="gray">
            <a:xfrm>
              <a:off x="330200" y="1289037"/>
              <a:ext cx="11531600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US" sz="1400" b="1" dirty="0">
                  <a:solidFill>
                    <a:srgbClr val="000000"/>
                  </a:solidFill>
                </a:rPr>
                <a:t>Target’s R&amp;D team attrition 2020 – present (July 2023)</a:t>
              </a:r>
              <a:r>
                <a:rPr lang="en-US" sz="1400" b="1" baseline="30000" dirty="0">
                  <a:solidFill>
                    <a:srgbClr val="000000"/>
                  </a:solidFill>
                </a:rPr>
                <a:t>1</a:t>
              </a:r>
            </a:p>
          </p:txBody>
        </p:sp>
        <p:cxnSp>
          <p:nvCxnSpPr>
            <p:cNvPr id="34" name="btfpColumnHeaderBoxLine584310">
              <a:extLst>
                <a:ext uri="{FF2B5EF4-FFF2-40B4-BE49-F238E27FC236}">
                  <a16:creationId xmlns:a16="http://schemas.microsoft.com/office/drawing/2014/main" id="{676DCF33-6BCD-4E19-A646-EBB8BA43E214}"/>
                </a:ext>
              </a:extLst>
            </p:cNvPr>
            <p:cNvCxnSpPr/>
            <p:nvPr/>
          </p:nvCxnSpPr>
          <p:spPr bwMode="gray">
            <a:xfrm>
              <a:off x="330200" y="1576362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btfpColumnHeaderBox584310">
            <a:extLst>
              <a:ext uri="{FF2B5EF4-FFF2-40B4-BE49-F238E27FC236}">
                <a16:creationId xmlns:a16="http://schemas.microsoft.com/office/drawing/2014/main" id="{9ECA83BD-B373-4C8C-A823-01C583610AF8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330200" y="4478562"/>
            <a:ext cx="7507288" cy="296578"/>
            <a:chOff x="330200" y="1292419"/>
            <a:chExt cx="11531600" cy="296578"/>
          </a:xfrm>
        </p:grpSpPr>
        <p:sp>
          <p:nvSpPr>
            <p:cNvPr id="46" name="btfpColumnHeaderBoxText584310">
              <a:extLst>
                <a:ext uri="{FF2B5EF4-FFF2-40B4-BE49-F238E27FC236}">
                  <a16:creationId xmlns:a16="http://schemas.microsoft.com/office/drawing/2014/main" id="{1C49D6C5-61D1-4E40-8469-C3E715E37C79}"/>
                </a:ext>
              </a:extLst>
            </p:cNvPr>
            <p:cNvSpPr txBox="1"/>
            <p:nvPr/>
          </p:nvSpPr>
          <p:spPr bwMode="gray">
            <a:xfrm>
              <a:off x="330200" y="1292419"/>
              <a:ext cx="11531600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Attrition rate 2020 – present</a:t>
              </a:r>
            </a:p>
          </p:txBody>
        </p:sp>
        <p:cxnSp>
          <p:nvCxnSpPr>
            <p:cNvPr id="47" name="btfpColumnHeaderBoxLine584310">
              <a:extLst>
                <a:ext uri="{FF2B5EF4-FFF2-40B4-BE49-F238E27FC236}">
                  <a16:creationId xmlns:a16="http://schemas.microsoft.com/office/drawing/2014/main" id="{41EA365A-1908-444E-9180-5662FFA03D69}"/>
                </a:ext>
              </a:extLst>
            </p:cNvPr>
            <p:cNvCxnSpPr/>
            <p:nvPr/>
          </p:nvCxnSpPr>
          <p:spPr bwMode="gray">
            <a:xfrm>
              <a:off x="330200" y="1588997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btfpNotesBox745556">
            <a:extLst>
              <a:ext uri="{FF2B5EF4-FFF2-40B4-BE49-F238E27FC236}">
                <a16:creationId xmlns:a16="http://schemas.microsoft.com/office/drawing/2014/main" id="{E6FAB11C-2C6F-4548-ABC9-7664DB9B0FE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800" dirty="0">
                <a:solidFill>
                  <a:srgbClr val="000000"/>
                </a:solidFill>
              </a:rPr>
              <a:t>Note: 1) TechOps FTEs are not considered in this analysis given Target does not label them as R&amp;D FTEs in census documents</a:t>
            </a:r>
            <a:r>
              <a:rPr lang="en-US" sz="800" dirty="0">
                <a:solidFill>
                  <a:srgbClr val="000000"/>
                </a:solidFill>
                <a:highlight>
                  <a:srgbClr val="FFFF00"/>
                </a:highlight>
              </a:rPr>
              <a:t> </a:t>
            </a:r>
            <a:endParaRPr lang="en-GB" sz="800" dirty="0">
              <a:solidFill>
                <a:srgbClr val="000000"/>
              </a:solidFill>
              <a:highlight>
                <a:srgbClr val="FFFF00"/>
              </a:highlight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sz="800" dirty="0">
                <a:solidFill>
                  <a:srgbClr val="000000"/>
                </a:solidFill>
              </a:rPr>
              <a:t>Source: Management disclosure, Bain analysis</a:t>
            </a:r>
          </a:p>
        </p:txBody>
      </p:sp>
      <p:grpSp>
        <p:nvGrpSpPr>
          <p:cNvPr id="15" name="btfpRunningAgenda2Level276655">
            <a:extLst>
              <a:ext uri="{FF2B5EF4-FFF2-40B4-BE49-F238E27FC236}">
                <a16:creationId xmlns:a16="http://schemas.microsoft.com/office/drawing/2014/main" id="{6F39654A-7417-44E8-82DB-3A2F4D2956F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0" y="944429"/>
            <a:ext cx="7210493" cy="257442"/>
            <a:chOff x="0" y="876300"/>
            <a:chExt cx="7210493" cy="257442"/>
          </a:xfrm>
        </p:grpSpPr>
        <p:sp>
          <p:nvSpPr>
            <p:cNvPr id="7" name="btfpRunningAgenda2LevelBarLeft276655">
              <a:extLst>
                <a:ext uri="{FF2B5EF4-FFF2-40B4-BE49-F238E27FC236}">
                  <a16:creationId xmlns:a16="http://schemas.microsoft.com/office/drawing/2014/main" id="{BFB36834-4B4F-4644-A6BE-8825FBB01BB6}"/>
                </a:ext>
              </a:extLst>
            </p:cNvPr>
            <p:cNvSpPr/>
            <p:nvPr/>
          </p:nvSpPr>
          <p:spPr bwMode="gray">
            <a:xfrm>
              <a:off x="0" y="876300"/>
              <a:ext cx="3912254" cy="257442"/>
            </a:xfrm>
            <a:custGeom>
              <a:avLst/>
              <a:gdLst>
                <a:gd name="connsiteX0" fmla="*/ 4499657 w 6261806"/>
                <a:gd name="connsiteY0" fmla="*/ 0 h 257442"/>
                <a:gd name="connsiteX1" fmla="*/ 6261806 w 6261806"/>
                <a:gd name="connsiteY1" fmla="*/ 0 h 257442"/>
                <a:gd name="connsiteX2" fmla="*/ 6207085 w 6261806"/>
                <a:gd name="connsiteY2" fmla="*/ 257442 h 257442"/>
                <a:gd name="connsiteX3" fmla="*/ 0 w 6261806"/>
                <a:gd name="connsiteY3" fmla="*/ 257442 h 257442"/>
                <a:gd name="connsiteX0" fmla="*/ 4499657 w 6207085"/>
                <a:gd name="connsiteY0" fmla="*/ 0 h 257442"/>
                <a:gd name="connsiteX1" fmla="*/ 4444936 w 6207085"/>
                <a:gd name="connsiteY1" fmla="*/ 257442 h 257442"/>
                <a:gd name="connsiteX2" fmla="*/ 6207085 w 6207085"/>
                <a:gd name="connsiteY2" fmla="*/ 257442 h 257442"/>
                <a:gd name="connsiteX3" fmla="*/ 0 w 6207085"/>
                <a:gd name="connsiteY3" fmla="*/ 257442 h 257442"/>
                <a:gd name="connsiteX0" fmla="*/ 4499657 w 4499657"/>
                <a:gd name="connsiteY0" fmla="*/ 0 h 257442"/>
                <a:gd name="connsiteX1" fmla="*/ 4444936 w 4499657"/>
                <a:gd name="connsiteY1" fmla="*/ 257442 h 257442"/>
                <a:gd name="connsiteX2" fmla="*/ 1 w 4499657"/>
                <a:gd name="connsiteY2" fmla="*/ 257442 h 257442"/>
                <a:gd name="connsiteX3" fmla="*/ 0 w 4499657"/>
                <a:gd name="connsiteY3" fmla="*/ 257442 h 257442"/>
                <a:gd name="connsiteX0" fmla="*/ 4499656 w 4499656"/>
                <a:gd name="connsiteY0" fmla="*/ 0 h 257442"/>
                <a:gd name="connsiteX1" fmla="*/ 4444935 w 4499656"/>
                <a:gd name="connsiteY1" fmla="*/ 257442 h 257442"/>
                <a:gd name="connsiteX2" fmla="*/ 0 w 4499656"/>
                <a:gd name="connsiteY2" fmla="*/ 257442 h 257442"/>
                <a:gd name="connsiteX3" fmla="*/ 0 w 4499656"/>
                <a:gd name="connsiteY3" fmla="*/ 0 h 257442"/>
                <a:gd name="connsiteX0" fmla="*/ 950800 w 4444935"/>
                <a:gd name="connsiteY0" fmla="*/ 0 h 257442"/>
                <a:gd name="connsiteX1" fmla="*/ 4444935 w 4444935"/>
                <a:gd name="connsiteY1" fmla="*/ 257442 h 257442"/>
                <a:gd name="connsiteX2" fmla="*/ 0 w 4444935"/>
                <a:gd name="connsiteY2" fmla="*/ 257442 h 257442"/>
                <a:gd name="connsiteX3" fmla="*/ 0 w 4444935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87432 w 1287432"/>
                <a:gd name="connsiteY0" fmla="*/ 0 h 257442"/>
                <a:gd name="connsiteX1" fmla="*/ 1064395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0 w 1287432"/>
                <a:gd name="connsiteY3" fmla="*/ 0 h 257442"/>
                <a:gd name="connsiteX0" fmla="*/ 1388420 w 1388420"/>
                <a:gd name="connsiteY0" fmla="*/ 0 h 257442"/>
                <a:gd name="connsiteX1" fmla="*/ 1232711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388420 w 1388420"/>
                <a:gd name="connsiteY0" fmla="*/ 0 h 257442"/>
                <a:gd name="connsiteX1" fmla="*/ 1333699 w 1388420"/>
                <a:gd name="connsiteY1" fmla="*/ 257442 h 257442"/>
                <a:gd name="connsiteX2" fmla="*/ 0 w 1388420"/>
                <a:gd name="connsiteY2" fmla="*/ 257442 h 257442"/>
                <a:gd name="connsiteX3" fmla="*/ 0 w 1388420"/>
                <a:gd name="connsiteY3" fmla="*/ 0 h 257442"/>
                <a:gd name="connsiteX0" fmla="*/ 1540706 w 1540706"/>
                <a:gd name="connsiteY0" fmla="*/ 0 h 257442"/>
                <a:gd name="connsiteX1" fmla="*/ 1333699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701007 w 1701007"/>
                <a:gd name="connsiteY0" fmla="*/ 0 h 257442"/>
                <a:gd name="connsiteX1" fmla="*/ 1485985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0 w 1701007"/>
                <a:gd name="connsiteY3" fmla="*/ 0 h 257442"/>
                <a:gd name="connsiteX0" fmla="*/ 1869321 w 1869321"/>
                <a:gd name="connsiteY0" fmla="*/ 0 h 257442"/>
                <a:gd name="connsiteX1" fmla="*/ 1646286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2055270 w 2055270"/>
                <a:gd name="connsiteY0" fmla="*/ 0 h 257442"/>
                <a:gd name="connsiteX1" fmla="*/ 1814600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0 w 2055270"/>
                <a:gd name="connsiteY0" fmla="*/ 0 h 257442"/>
                <a:gd name="connsiteX1" fmla="*/ 2000548 w 2055270"/>
                <a:gd name="connsiteY1" fmla="*/ 257442 h 257442"/>
                <a:gd name="connsiteX2" fmla="*/ 0 w 2055270"/>
                <a:gd name="connsiteY2" fmla="*/ 257442 h 257442"/>
                <a:gd name="connsiteX3" fmla="*/ 0 w 2055270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1 w 2055271"/>
                <a:gd name="connsiteY3" fmla="*/ 0 h 257442"/>
                <a:gd name="connsiteX0" fmla="*/ 3912254 w 3912254"/>
                <a:gd name="connsiteY0" fmla="*/ 0 h 257442"/>
                <a:gd name="connsiteX1" fmla="*/ 2000549 w 3912254"/>
                <a:gd name="connsiteY1" fmla="*/ 257442 h 257442"/>
                <a:gd name="connsiteX2" fmla="*/ 0 w 3912254"/>
                <a:gd name="connsiteY2" fmla="*/ 257442 h 257442"/>
                <a:gd name="connsiteX3" fmla="*/ 1 w 3912254"/>
                <a:gd name="connsiteY3" fmla="*/ 0 h 257442"/>
                <a:gd name="connsiteX0" fmla="*/ 3912254 w 3912254"/>
                <a:gd name="connsiteY0" fmla="*/ 0 h 257442"/>
                <a:gd name="connsiteX1" fmla="*/ 3857532 w 3912254"/>
                <a:gd name="connsiteY1" fmla="*/ 257442 h 257442"/>
                <a:gd name="connsiteX2" fmla="*/ 0 w 3912254"/>
                <a:gd name="connsiteY2" fmla="*/ 257442 h 257442"/>
                <a:gd name="connsiteX3" fmla="*/ 1 w 3912254"/>
                <a:gd name="connsiteY3" fmla="*/ 0 h 257442"/>
                <a:gd name="connsiteX0" fmla="*/ 3912254 w 3912254"/>
                <a:gd name="connsiteY0" fmla="*/ 0 h 257442"/>
                <a:gd name="connsiteX1" fmla="*/ 3857532 w 3912254"/>
                <a:gd name="connsiteY1" fmla="*/ 257442 h 257442"/>
                <a:gd name="connsiteX2" fmla="*/ 0 w 3912254"/>
                <a:gd name="connsiteY2" fmla="*/ 257442 h 257442"/>
                <a:gd name="connsiteX3" fmla="*/ 1 w 3912254"/>
                <a:gd name="connsiteY3" fmla="*/ 0 h 257442"/>
                <a:gd name="connsiteX0" fmla="*/ 3912254 w 3912254"/>
                <a:gd name="connsiteY0" fmla="*/ 0 h 257442"/>
                <a:gd name="connsiteX1" fmla="*/ 3857532 w 3912254"/>
                <a:gd name="connsiteY1" fmla="*/ 257442 h 257442"/>
                <a:gd name="connsiteX2" fmla="*/ 0 w 3912254"/>
                <a:gd name="connsiteY2" fmla="*/ 257442 h 257442"/>
                <a:gd name="connsiteX3" fmla="*/ 0 w 3912254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12254" h="257442">
                  <a:moveTo>
                    <a:pt x="3912254" y="0"/>
                  </a:moveTo>
                  <a:lnTo>
                    <a:pt x="3857532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6" name="btfpRunningAgenda2LevelTextLeft276655">
              <a:extLst>
                <a:ext uri="{FF2B5EF4-FFF2-40B4-BE49-F238E27FC236}">
                  <a16:creationId xmlns:a16="http://schemas.microsoft.com/office/drawing/2014/main" id="{7D4DD9DB-700F-4A09-BBDA-ADE11B346EA8}"/>
                </a:ext>
              </a:extLst>
            </p:cNvPr>
            <p:cNvSpPr txBox="1"/>
            <p:nvPr/>
          </p:nvSpPr>
          <p:spPr bwMode="gray">
            <a:xfrm>
              <a:off x="0" y="876300"/>
              <a:ext cx="385753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>
                  <a:solidFill>
                    <a:srgbClr val="FFFFFF"/>
                  </a:solidFill>
                </a:rPr>
                <a:t>R&amp;D team and process</a:t>
              </a:r>
            </a:p>
          </p:txBody>
        </p:sp>
        <p:sp>
          <p:nvSpPr>
            <p:cNvPr id="14" name="btfpRunningAgenda2LevelBarRight276655">
              <a:extLst>
                <a:ext uri="{FF2B5EF4-FFF2-40B4-BE49-F238E27FC236}">
                  <a16:creationId xmlns:a16="http://schemas.microsoft.com/office/drawing/2014/main" id="{909761E3-3FB5-46AE-AD59-15BA991DD0D3}"/>
                </a:ext>
              </a:extLst>
            </p:cNvPr>
            <p:cNvSpPr/>
            <p:nvPr/>
          </p:nvSpPr>
          <p:spPr bwMode="gray">
            <a:xfrm>
              <a:off x="3777410" y="876300"/>
              <a:ext cx="3433083" cy="257442"/>
            </a:xfrm>
            <a:custGeom>
              <a:avLst/>
              <a:gdLst>
                <a:gd name="connsiteX0" fmla="*/ 1908948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1908948 w 2313135"/>
                <a:gd name="connsiteY0" fmla="*/ 0 h 257442"/>
                <a:gd name="connsiteX1" fmla="*/ 1854227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1908948 w 1908948"/>
                <a:gd name="connsiteY0" fmla="*/ 0 h 257442"/>
                <a:gd name="connsiteX1" fmla="*/ 1854227 w 1908948"/>
                <a:gd name="connsiteY1" fmla="*/ 257442 h 257442"/>
                <a:gd name="connsiteX2" fmla="*/ 1 w 1908948"/>
                <a:gd name="connsiteY2" fmla="*/ 257442 h 257442"/>
                <a:gd name="connsiteX3" fmla="*/ 0 w 1908948"/>
                <a:gd name="connsiteY3" fmla="*/ 257442 h 257442"/>
                <a:gd name="connsiteX0" fmla="*/ 1908947 w 1908947"/>
                <a:gd name="connsiteY0" fmla="*/ 0 h 257442"/>
                <a:gd name="connsiteX1" fmla="*/ 1854226 w 1908947"/>
                <a:gd name="connsiteY1" fmla="*/ 257442 h 257442"/>
                <a:gd name="connsiteX2" fmla="*/ 0 w 1908947"/>
                <a:gd name="connsiteY2" fmla="*/ 257442 h 257442"/>
                <a:gd name="connsiteX3" fmla="*/ 54721 w 1908947"/>
                <a:gd name="connsiteY3" fmla="*/ 0 h 257442"/>
                <a:gd name="connsiteX0" fmla="*/ 3433083 w 3433083"/>
                <a:gd name="connsiteY0" fmla="*/ 0 h 257442"/>
                <a:gd name="connsiteX1" fmla="*/ 1854226 w 3433083"/>
                <a:gd name="connsiteY1" fmla="*/ 257442 h 257442"/>
                <a:gd name="connsiteX2" fmla="*/ 0 w 3433083"/>
                <a:gd name="connsiteY2" fmla="*/ 257442 h 257442"/>
                <a:gd name="connsiteX3" fmla="*/ 54721 w 3433083"/>
                <a:gd name="connsiteY3" fmla="*/ 0 h 257442"/>
                <a:gd name="connsiteX0" fmla="*/ 3433083 w 3433083"/>
                <a:gd name="connsiteY0" fmla="*/ 0 h 257442"/>
                <a:gd name="connsiteX1" fmla="*/ 3378362 w 3433083"/>
                <a:gd name="connsiteY1" fmla="*/ 257442 h 257442"/>
                <a:gd name="connsiteX2" fmla="*/ 0 w 3433083"/>
                <a:gd name="connsiteY2" fmla="*/ 257442 h 257442"/>
                <a:gd name="connsiteX3" fmla="*/ 54721 w 3433083"/>
                <a:gd name="connsiteY3" fmla="*/ 0 h 257442"/>
                <a:gd name="connsiteX0" fmla="*/ 3433083 w 3433083"/>
                <a:gd name="connsiteY0" fmla="*/ 0 h 257442"/>
                <a:gd name="connsiteX1" fmla="*/ 3378362 w 3433083"/>
                <a:gd name="connsiteY1" fmla="*/ 257442 h 257442"/>
                <a:gd name="connsiteX2" fmla="*/ 0 w 3433083"/>
                <a:gd name="connsiteY2" fmla="*/ 257442 h 257442"/>
                <a:gd name="connsiteX3" fmla="*/ 54721 w 3433083"/>
                <a:gd name="connsiteY3" fmla="*/ 0 h 257442"/>
                <a:gd name="connsiteX0" fmla="*/ 3433083 w 3433083"/>
                <a:gd name="connsiteY0" fmla="*/ 0 h 257442"/>
                <a:gd name="connsiteX1" fmla="*/ 3378362 w 3433083"/>
                <a:gd name="connsiteY1" fmla="*/ 257442 h 257442"/>
                <a:gd name="connsiteX2" fmla="*/ 0 w 3433083"/>
                <a:gd name="connsiteY2" fmla="*/ 257442 h 257442"/>
                <a:gd name="connsiteX3" fmla="*/ 54721 w 3433083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33083" h="257442">
                  <a:moveTo>
                    <a:pt x="3433083" y="0"/>
                  </a:moveTo>
                  <a:lnTo>
                    <a:pt x="3378362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2LevelTextRight276655">
              <a:extLst>
                <a:ext uri="{FF2B5EF4-FFF2-40B4-BE49-F238E27FC236}">
                  <a16:creationId xmlns:a16="http://schemas.microsoft.com/office/drawing/2014/main" id="{128653F6-5474-48A4-87D7-65D94F7B1505}"/>
                </a:ext>
              </a:extLst>
            </p:cNvPr>
            <p:cNvSpPr txBox="1"/>
            <p:nvPr/>
          </p:nvSpPr>
          <p:spPr bwMode="gray">
            <a:xfrm>
              <a:off x="3777410" y="876300"/>
              <a:ext cx="337836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Attrition Analysis</a:t>
              </a:r>
              <a:endParaRPr lang="en-GB" sz="1200" b="1" cap="all" spc="450">
                <a:solidFill>
                  <a:srgbClr val="FFFFFF"/>
                </a:solidFill>
              </a:endParaRPr>
            </a:p>
          </p:txBody>
        </p:sp>
      </p:grpSp>
      <p:grpSp>
        <p:nvGrpSpPr>
          <p:cNvPr id="23" name="btfpColumnHeaderBox553786">
            <a:extLst>
              <a:ext uri="{FF2B5EF4-FFF2-40B4-BE49-F238E27FC236}">
                <a16:creationId xmlns:a16="http://schemas.microsoft.com/office/drawing/2014/main" id="{F5145948-CA44-B5AA-B1F6-673582BC0EAE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8378296" y="1270000"/>
            <a:ext cx="3483504" cy="318997"/>
            <a:chOff x="8378296" y="1715997"/>
            <a:chExt cx="3483504" cy="318997"/>
          </a:xfrm>
        </p:grpSpPr>
        <p:sp>
          <p:nvSpPr>
            <p:cNvPr id="24" name="btfpColumnHeaderBoxText553786">
              <a:extLst>
                <a:ext uri="{FF2B5EF4-FFF2-40B4-BE49-F238E27FC236}">
                  <a16:creationId xmlns:a16="http://schemas.microsoft.com/office/drawing/2014/main" id="{4EBB21D8-8A56-32BE-3723-7E569CFF14D4}"/>
                </a:ext>
              </a:extLst>
            </p:cNvPr>
            <p:cNvSpPr txBox="1"/>
            <p:nvPr/>
          </p:nvSpPr>
          <p:spPr bwMode="gray">
            <a:xfrm>
              <a:off x="8378296" y="1715997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Key takeaways</a:t>
              </a:r>
            </a:p>
          </p:txBody>
        </p:sp>
        <p:cxnSp>
          <p:nvCxnSpPr>
            <p:cNvPr id="25" name="btfpColumnHeaderBoxLine553786">
              <a:extLst>
                <a:ext uri="{FF2B5EF4-FFF2-40B4-BE49-F238E27FC236}">
                  <a16:creationId xmlns:a16="http://schemas.microsoft.com/office/drawing/2014/main" id="{4F98FC30-61FA-9E5C-4D79-B35D953F487F}"/>
                </a:ext>
              </a:extLst>
            </p:cNvPr>
            <p:cNvCxnSpPr/>
            <p:nvPr/>
          </p:nvCxnSpPr>
          <p:spPr bwMode="gray">
            <a:xfrm>
              <a:off x="8378296" y="2034994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btfpBulletedList422906">
            <a:extLst>
              <a:ext uri="{FF2B5EF4-FFF2-40B4-BE49-F238E27FC236}">
                <a16:creationId xmlns:a16="http://schemas.microsoft.com/office/drawing/2014/main" id="{423E55B2-9B22-1A52-EF78-2B39074CBB9B}"/>
              </a:ext>
            </a:extLst>
          </p:cNvPr>
          <p:cNvSpPr/>
          <p:nvPr/>
        </p:nvSpPr>
        <p:spPr bwMode="gray">
          <a:xfrm>
            <a:off x="8378296" y="4100863"/>
            <a:ext cx="3483504" cy="1487137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6D6">
                    <a:alpha val="75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D6D6D6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60" name="btfpQuoteBox554183">
            <a:extLst>
              <a:ext uri="{FF2B5EF4-FFF2-40B4-BE49-F238E27FC236}">
                <a16:creationId xmlns:a16="http://schemas.microsoft.com/office/drawing/2014/main" id="{D92CFC2A-54CF-AA8B-BE4E-307B8EDE7953}"/>
              </a:ext>
            </a:extLst>
          </p:cNvPr>
          <p:cNvSpPr txBox="1"/>
          <p:nvPr>
            <p:custDataLst>
              <p:tags r:id="rId10"/>
            </p:custDataLst>
          </p:nvPr>
        </p:nvSpPr>
        <p:spPr bwMode="gray">
          <a:xfrm>
            <a:off x="8417985" y="5264613"/>
            <a:ext cx="3483505" cy="1357743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1050" i="1" dirty="0"/>
              <a:t>“They brought in their own people and micromanaged things. </a:t>
            </a:r>
            <a:r>
              <a:rPr lang="en-US" sz="1050" b="1" i="1" dirty="0"/>
              <a:t>A lot of the other senior people didn't like the micromanaging </a:t>
            </a:r>
            <a:r>
              <a:rPr lang="en-US" sz="1050" i="1" dirty="0"/>
              <a:t>from what they tell me, so they left and then [PE firm] put in a CEO they knew, and that CEO brought in some of their people. </a:t>
            </a:r>
            <a:r>
              <a:rPr lang="en-US" sz="1050" b="1" i="1" dirty="0"/>
              <a:t>A lot of the more senior people beneath them mostly self-selected to leave</a:t>
            </a:r>
            <a:r>
              <a:rPr lang="en-US" sz="1050" i="1" dirty="0"/>
              <a:t>.”</a:t>
            </a:r>
          </a:p>
          <a:p>
            <a:pPr marL="177800" lvl="1" indent="0" algn="r">
              <a:spcBef>
                <a:spcPts val="0"/>
              </a:spcBef>
              <a:buNone/>
            </a:pPr>
            <a:r>
              <a:rPr lang="en-US" sz="1000" dirty="0"/>
              <a:t>Former Executive #3, Target</a:t>
            </a:r>
          </a:p>
        </p:txBody>
      </p:sp>
      <p:sp>
        <p:nvSpPr>
          <p:cNvPr id="5" name="btfpBulletedList532339">
            <a:extLst>
              <a:ext uri="{FF2B5EF4-FFF2-40B4-BE49-F238E27FC236}">
                <a16:creationId xmlns:a16="http://schemas.microsoft.com/office/drawing/2014/main" id="{975119E7-A908-F4D9-09C3-CCDDE7F2E2F4}"/>
              </a:ext>
            </a:extLst>
          </p:cNvPr>
          <p:cNvSpPr txBox="1"/>
          <p:nvPr>
            <p:custDataLst>
              <p:tags r:id="rId11"/>
            </p:custDataLst>
          </p:nvPr>
        </p:nvSpPr>
        <p:spPr bwMode="gray">
          <a:xfrm>
            <a:off x="8378296" y="1715997"/>
            <a:ext cx="3483504" cy="327357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200" b="1" dirty="0">
                <a:solidFill>
                  <a:srgbClr val="000000"/>
                </a:solidFill>
              </a:rPr>
              <a:t>Attrition greatly increased year over year </a:t>
            </a:r>
            <a:r>
              <a:rPr lang="en-US" sz="1200" dirty="0">
                <a:solidFill>
                  <a:srgbClr val="000000"/>
                </a:solidFill>
              </a:rPr>
              <a:t>with total attrition Targeting a peak rate of 31% in 2022 </a:t>
            </a:r>
          </a:p>
          <a:p>
            <a:pPr lvl="1">
              <a:spcBef>
                <a:spcPts val="0"/>
              </a:spcBef>
            </a:pPr>
            <a:r>
              <a:rPr lang="en-US" sz="1000" dirty="0">
                <a:solidFill>
                  <a:srgbClr val="000000"/>
                </a:solidFill>
              </a:rPr>
              <a:t>High attrition raises concerns of loss of institutional knowledge </a:t>
            </a:r>
          </a:p>
          <a:p>
            <a:pPr>
              <a:spcBef>
                <a:spcPts val="600"/>
              </a:spcBef>
            </a:pPr>
            <a:r>
              <a:rPr lang="en-US" sz="1200" dirty="0">
                <a:solidFill>
                  <a:srgbClr val="000000"/>
                </a:solidFill>
              </a:rPr>
              <a:t>Management addressed attrition in conversations with the Bain team and noted that there were </a:t>
            </a:r>
            <a:r>
              <a:rPr lang="en-US" sz="1200" b="1" dirty="0">
                <a:solidFill>
                  <a:srgbClr val="000000"/>
                </a:solidFill>
              </a:rPr>
              <a:t>no noticeable inefficiencies or reduction in institutional knowledge </a:t>
            </a:r>
          </a:p>
          <a:p>
            <a:pPr>
              <a:spcBef>
                <a:spcPts val="600"/>
              </a:spcBef>
            </a:pPr>
            <a:r>
              <a:rPr lang="en-US" sz="1200" dirty="0">
                <a:solidFill>
                  <a:srgbClr val="000000"/>
                </a:solidFill>
              </a:rPr>
              <a:t>There was a </a:t>
            </a:r>
            <a:r>
              <a:rPr lang="en-US" sz="1200" b="1" dirty="0">
                <a:solidFill>
                  <a:srgbClr val="000000"/>
                </a:solidFill>
              </a:rPr>
              <a:t>jump in involuntary attrition in 2022 </a:t>
            </a:r>
            <a:r>
              <a:rPr lang="en-US" sz="1200" dirty="0">
                <a:solidFill>
                  <a:srgbClr val="000000"/>
                </a:solidFill>
              </a:rPr>
              <a:t>with 13 software engineering roles removed </a:t>
            </a:r>
          </a:p>
          <a:p>
            <a:pPr>
              <a:spcBef>
                <a:spcPts val="600"/>
              </a:spcBef>
            </a:pPr>
            <a:r>
              <a:rPr lang="en-US" sz="1200" dirty="0">
                <a:solidFill>
                  <a:srgbClr val="000000"/>
                </a:solidFill>
              </a:rPr>
              <a:t>Attrition was primarily from </a:t>
            </a:r>
            <a:r>
              <a:rPr lang="en-US" sz="1200" b="1" dirty="0">
                <a:solidFill>
                  <a:srgbClr val="000000"/>
                </a:solidFill>
              </a:rPr>
              <a:t>product management</a:t>
            </a:r>
            <a:r>
              <a:rPr lang="en-US" sz="1200" dirty="0">
                <a:solidFill>
                  <a:srgbClr val="000000"/>
                </a:solidFill>
              </a:rPr>
              <a:t> (18) and </a:t>
            </a:r>
            <a:r>
              <a:rPr lang="en-US" sz="1200" b="1" dirty="0">
                <a:solidFill>
                  <a:srgbClr val="000000"/>
                </a:solidFill>
              </a:rPr>
              <a:t>engineering</a:t>
            </a:r>
            <a:r>
              <a:rPr lang="en-US" sz="1200" dirty="0">
                <a:solidFill>
                  <a:srgbClr val="000000"/>
                </a:solidFill>
              </a:rPr>
              <a:t> (53) </a:t>
            </a:r>
            <a:r>
              <a:rPr lang="en-US" sz="1200" b="1" dirty="0">
                <a:solidFill>
                  <a:srgbClr val="000000"/>
                </a:solidFill>
              </a:rPr>
              <a:t>roles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</a:p>
          <a:p>
            <a:pPr>
              <a:spcBef>
                <a:spcPts val="600"/>
              </a:spcBef>
            </a:pPr>
            <a:r>
              <a:rPr lang="en-US" sz="1200" b="1" dirty="0">
                <a:solidFill>
                  <a:srgbClr val="000000"/>
                </a:solidFill>
              </a:rPr>
              <a:t>Attrition appears to have stabilized </a:t>
            </a:r>
            <a:r>
              <a:rPr lang="en-US" sz="1200" dirty="0">
                <a:solidFill>
                  <a:srgbClr val="000000"/>
                </a:solidFill>
              </a:rPr>
              <a:t>given an attrition rate of 2% for H1 2023</a:t>
            </a:r>
          </a:p>
        </p:txBody>
      </p:sp>
      <p:grpSp>
        <p:nvGrpSpPr>
          <p:cNvPr id="11" name="btfpStatusSticker276171">
            <a:extLst>
              <a:ext uri="{FF2B5EF4-FFF2-40B4-BE49-F238E27FC236}">
                <a16:creationId xmlns:a16="http://schemas.microsoft.com/office/drawing/2014/main" id="{2A4B34B7-46AD-643E-E29A-56C958199FE3}"/>
              </a:ext>
            </a:extLst>
          </p:cNvPr>
          <p:cNvGrpSpPr/>
          <p:nvPr>
            <p:custDataLst>
              <p:tags r:id="rId12"/>
            </p:custDataLst>
          </p:nvPr>
        </p:nvGrpSpPr>
        <p:grpSpPr>
          <a:xfrm>
            <a:off x="10100356" y="955344"/>
            <a:ext cx="1761444" cy="235611"/>
            <a:chOff x="-1630959" y="876300"/>
            <a:chExt cx="1761444" cy="235611"/>
          </a:xfrm>
        </p:grpSpPr>
        <p:sp>
          <p:nvSpPr>
            <p:cNvPr id="8" name="btfpStatusStickerText276171">
              <a:extLst>
                <a:ext uri="{FF2B5EF4-FFF2-40B4-BE49-F238E27FC236}">
                  <a16:creationId xmlns:a16="http://schemas.microsoft.com/office/drawing/2014/main" id="{A66294FC-96AB-8256-3246-FBB886958937}"/>
                </a:ext>
              </a:extLst>
            </p:cNvPr>
            <p:cNvSpPr txBox="1"/>
            <p:nvPr/>
          </p:nvSpPr>
          <p:spPr bwMode="gray">
            <a:xfrm>
              <a:off x="-1630959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Preliminary</a:t>
              </a:r>
            </a:p>
          </p:txBody>
        </p:sp>
        <p:cxnSp>
          <p:nvCxnSpPr>
            <p:cNvPr id="10" name="btfpStatusStickerLine276171">
              <a:extLst>
                <a:ext uri="{FF2B5EF4-FFF2-40B4-BE49-F238E27FC236}">
                  <a16:creationId xmlns:a16="http://schemas.microsoft.com/office/drawing/2014/main" id="{DCF07BD1-CCB1-45D1-6746-429E54E286B6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630959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B508ED6-4B28-CC8F-B922-7BD9A4637680}"/>
              </a:ext>
            </a:extLst>
          </p:cNvPr>
          <p:cNvSpPr/>
          <p:nvPr/>
        </p:nvSpPr>
        <p:spPr bwMode="gray">
          <a:xfrm>
            <a:off x="432608" y="5783245"/>
            <a:ext cx="422987" cy="1869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>
                <a:solidFill>
                  <a:schemeClr val="tx1"/>
                </a:solidFill>
              </a:rPr>
              <a:t>10%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A44E5E1-302D-48BE-B70C-69BE0616DC4F}"/>
              </a:ext>
            </a:extLst>
          </p:cNvPr>
          <p:cNvSpPr/>
          <p:nvPr/>
        </p:nvSpPr>
        <p:spPr bwMode="gray">
          <a:xfrm>
            <a:off x="2727938" y="5613589"/>
            <a:ext cx="422987" cy="1869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>
                <a:solidFill>
                  <a:schemeClr val="tx1"/>
                </a:solidFill>
              </a:rPr>
              <a:t>17%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915114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BTFPCOLUMNGUIDE" val="Visible"/>
  <p:tag name="OFFICE" val="Boston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hje5yuh4ZqNikExboSMu2t9eRhvurDVCL4zCOlXmOhfySdMYAjEtdKJ8Tg6e33yyZuf2q73SsT43T8SnTqvhgTqqLwO1iVWnDUKzeoKS7uvrOY6CasanrYrWmR33Fc6dhc2FseHTJN3e4p1kof9PsayLpvhQXDONL877vrO8vddkeZ7IjqbSsJhlb1T1ZLdnWC59nYVaFjTD6/AgUuBQvChB4moLQpVx9O/x5OsjueGvETibYGpy/b82MBqNPERe9/vORt1E0aL4AVJhXJZFAUE1GflQ2yz5dckVYaJhGSfLNZq6Plf3gEdyWyENrCmFSi2Rz6G22+PznAtmtlTb5Yc4/XR+zOvPRzFuYNhk+4awI/5tKluPqxg5+sfGNyT+//1BIadK/T7Zg/vgM2t5StmvIJUezWE6Cwm0+QDSKmDTZ9gKzObXXkNc12DqYIp+D9nfbN/hryIAOKeqTy3Tiaiggxrs87qLKQyNBQ+rZoCJsdQBHQFFHj6sWUe6mxCh6zGgfWKG2vMhNllz8mdBGe5hlYteaD7o1ytc6YpFVQ01uP3AtEtIssQcAbvUZaNpMtOWUG0j6en10QYMbOEcuv6nRxAhTAaobwkfiqog6A/Dxq3Wn4XQFt3vbi4Z7nS+RIgmQnWRO4lFFVGWNM8Oi4a4a27d4gix5o8D4RfOORW7yOdiiOMOlQqVVqQOTmDkyfRaaMyRPthRKGINJB3hcyHbdwMeUbeYhhH30SkWNWMXP1o+U5VP49TzLJqdhH25GAjnox0OgRlDzGG7i0WnCR6FHk2JZovJuvkIrEv4xzaRq7aAoBCANGQqk2UglsFoqtUur1lgKFLa8AzMr1Q0WPD1w6PBsXRwt6ZYSCxVOdofafG462eMBMhhHPiu2ZxwBdKpkTxW4V+eV29QPWZJX6OM8nTDVqAYY+rZKKItwDMMhd1ZfxR+1tC9TmccZ15TyeuUxTGse+38V59yI4FmkBzXBMfKUr91u1qXODnDmeAOvrovsgN8P4k7WFKHteEAvAqKV9XDjZfYW8KtFh7CKRhUEn2+C0MaPdI1MRKCkYI3wWHAieh2ONyzf16zM7nPi6Dttq/0KGZVjZWab3eV5pdnc1a48pgLpiQGZ/MC3RQeuJx4VFdVt/5jkzC43b/ZywbqiMIZoqD7Yw+MDGi1c7ELm/SysMxfchgWmMu3GahcYVmeWTqcyDYXwcOmDmx2Lm+4R9qvJQt77mb40eNcIJvUL4uTO9t9f6o8idIRnsB6bBDfEmNe1M5dFf5a+/L0YQnX+vzgozqm3Dv/2gOVTOHfHwapwwYW3U2WUfwFaCvokhfPkCryVxJHmW2Jtq103QB3wkpWway/hfS+Gt1+93gqK/qL5GHYDrHvillyq4bKCcnuf3QVxPTB1f2kCMpkdNSC/UMnNQCSxLNzsOux1wW6jo4UKmJkkFOP5j7ANR24FAb8QVbcz7A9eAADdbciCV15LHGjGdqd8NCSUqFynMPCy22uleYHbnHctb9CzMVfmt4qZGiwXg0lmRnKn+VyQlT82XSsgD//Qk7e4muJLz597OiFMzEMGoqU28uX20FlzVYeSf6sZv3lxr6OpewkYgUHGmiBJ9Y6CO+znPm6ZODt+r1hnVnqFchqh+EnP4tLmXrrwiv3swDYkTB8qqIefrhhk/ZdlDlU4e2c2zIiqiUqxtA/4qs15HMMOX1hmbDuubC66vIdsx0k/kwDZWhyYmeSCUCAcfcYKJNXc+v7dmzmr9i6qUMkAVHScUsx4MJbVSLvTBfQIZmvyJlg4/T2wxQLg8EBazJF0+BsV+m3Xy3QlKIo9NYB9n5h1vWfH0JKqY5Zc0DuTXmNm60lDgZkKG/wKEiT+zyb/AstM3QT9vMsTM/GTVm28v79apxOJSZT1vgHIcjhUb37o5+VLdRxv4mYSK0QuLmArwOr3pAWeP+0WQdyqTgFU/DRg62xmMCMLNwt6isC6p5aZN3oM4axU1yWLvM1Zc8skAZTUNfHhxDuALqoThCYK9Q+rIM/Y1zjox9pAM6uKVjEr2KW6CnOI22hXEEr2DLQbXnhlYb3P/p4xlp/Vitgy2/vXKAlwSjLoiSHYMB0HZrgoGLtX5Y/arljw4XkWx2yX/V7CBZN6qjCZBJ0kGtzx3O9Pb6LWBOrBd7m6nxTp0eLzgUx1aSXfTIz73pe64z+IHL1H9sIxt3tVGk1Jt+2qX9mjTrBmfHeAfv4Tpa1kT7Mqz8Cv69oD37cAkPs1aWC62TY7AsLK5ELSfY4n+MYUMozIXSgvF6c9AAQLq2BrQx7u+QnfrK6cK22hLGu6rR3QfMorIAjWGS8+aj638qZ8K2kh3fLksd/rxm5J7gzyvhYcET1libwAVTk96wQZk3ruEFVkrT1ICl0hJ8yDg/8T2qqrCejK1d/OmSe6t+c5082Xwu9FsNJIFAFSATp173EIL+sTZu0PpzcznajSQm++GehpsD6mvNtToA+IgIB3d0Q8/qm2vWWG6zz5OJwFh7VMjYxUzm9HXYAT1vN1roV1TrNJi7DXYPCZBho7TBG3eD4jPML6OJTu2MtQVyX82ymxKOhh2BpucRH+LebAozOUBVwY/x40y6d7PzoGYaueaZJhj6MKk0n0wmoLAdasdMH4yS+nwYkL+mAoydhoXGrcK7KcQWQDb7GtLQe2wVbFI1tEdZ90eIckWhwErA7OPZgmtLW30K/Yc2i7MpysDc/NZWa6nwbPJ8yG7YEtI9WkEkQApDzeGAO19yZu++AGoTeRMBvJEMCdNQfcvFif1yXT8saLV3oqxLj8yB3ZUJSid/IS4FrarAL900Oq32B1NM83U3fRjaNg76UD2FDDXsMdW7mQvMjLNjDIUgtlm3LBt+ZxijqFarlNE9dXZP88yRU+Df0lFQVjggIrPtK4sH7HA8vdzulseRcG+gVDCm/LPBdAqPhnLDB1kblEues4ptmTL4pAzYCDkOIW3gRxjdp07ZCOzBZMd7P7mWbqSmcDOEUd2+AL4QEe5kp+vJXiwK6RlFiqqEuJ5bEXk0GvW6C+4wgE67ZShJa6H6FaxaV5EHkelyD6Ooib2iZiqI/I+SxO4nMoolE3A2Nr4BSU3eAy1lotZyTiJYExSQyOev7cR8ZZI8+pb3nlkrDsWcgiFiACjqk1GKvnDQsXS3+/SF5f64oLn6PgViWrywWQZ6Sgra0mWZMXrupVLm5K16g6R3wNVIIEY1cW16gm3XiczyfR66SSz9F3+xznSgAZ6231Z2Jt64VyD9iMiN2sBFJFAmwYRGQAZylxR6T/QGMYvfXvcIO//p1f316Li2JSf/0Py+/wFsTgvQcjShVJ2ygiYajcomvxtCQHa3O+PU7bx+3e53ApqX7aLu5ZFZVa3hgpnlY7gZL/bHoOeB0cm5flCFwLG6N9YEKitJ+jfVWjV29BlLT2qGTuQ6I6DJcHZblioUX2/4COkn4n4/UVke3p5lAMIOFcf/gvdvry1R4/LN1gglbrQuSDWCD3mTyCOaMmONLVfL3zIQaFfQ1jTfNhUyxvGs9JIu0q8j8VNPdxvA7IxB712ilXjnpbQWv5CA430aKb/eSDb24Juy7ZOIUxRUmu5zCK59oIuClgDeCfTL1Se+qkkhlNv6OZkJU4tl28TjP+pS6eM96yxuCUldogaxFz1KZyS4mVzscvsYRv7qMXFEboc/FqJBeuigaVZ5iffXsXxzJBMkbffe0lSfdzfcccZtbQBfVHTFmMdZWyTf+84b/4boZa+oXWc1hv099TqLnGs6FGMgwqEkiHzRAezwLwKS+NSh9FPknyNFJ8NfHiQ5YkiNy8iFajnEXXLxB4YFe8lmJ0cPDyD5+kz9sIynhOY6IFRW403RxlPjwheqfYcL3XAj2UqLuNTo8tMf0wYozap3XCsV7FWE4rrIHPzkpHwKRbTn7YaBo3I4NJzgeO11a8s7OlQr90N3d89ILYqLiGB+haYnd5+mTsL+FpNSAPFQO+wyXs1335wxOYDWfuWqQJMJSVaLzRHd6edhCm16L1pTsuUQS8zo/E5oKJGRA3f5WobFrw0CM6IKKA+utfPNCTPV+Xrgxkg0KFbQZqczT71eUn8XjjvXBBzi1JXXZp0ptNe1IXezr/oulvQoFKlYj3xMiz6jaUdcYe9xanBU00Xno9up8Vpcxusnecl9TO+5u/Kg1e8VyPbwl3g3+Jph7N/K4eTTfwwdcIVZOKBhX0rciZb2HlOxafuPiDfqftXkAO0tZ0px/vo62Jl+0VVwwWF/XMewMzvmj15uRKJ1P6xQ7r+FIS+Fjz49g1+FmL5XvYVqCCpWFwVtv4igL36pdK5UHJY6+S2yaSL5DbOM2f2tFEAfEBM9rEE8NJVAs4UyJNjaatq+1ZUu0nB8w5WR2ifx9uuJorn6rG+ILb2uoZ30Q0J0N4dRWTv+QI2bg5BqhguisMEWqXy8ubR703uL8/BghNaFcFoXYKjxGuSsKoLGfJeeMc5fji/AqkSHil6dsarsPU518PcA6ld/HBKz8dc/Gf24oyNFVuXI4lXRWnuYCAPfEs1INA1FyaLijbXlU7v7NU3IOybV8bsTAlEX0+5748gWpQaaIl34LilRarDD5IBuNdOr6wCm8+afmNPO+PJeRE1ndk7xaVYrKJf/QBDOX6NbTosctyODayIa2mGT47zxC4Y8I8Ip7eOhe/OShfgvlx2P3Wkuyof3h7j+yIAfBwFd6G/vj1letleTtAJ67J6mLQ0mlVJaD7PbE+t+u3RvEsGnGI/pmNG038eCU8mlfe91qHf+Zs9yqcmsVDU8201gzPqYWc3AnISdcoG1cRiXqYgkIc2kK4aZyoxKLY6+4LYcQ0MgqAszMEG2Yz/VKkFGgepvKIYtWW1t+oCscEBDJydHT/AuTZpdP6FmhCL7+o8m4Y/qpl3I7neBwCH09ByN2gfFVcuGt6dT2boiH1YHgtK377NNavrp3jrLuVwWJ78mlABrGSWrVxgps8l/0HNWDMXn5yCJiVpOdwjLD3HSE1NzkwaAei+RIB+p1w4CL8+yqRsE192XiH3OXmFDczKK8hfss6OJDi0PVpBiFPpdxjgqITjvkljaQmpYVjzxGrPy4hz8wssytsKDpQFpoF2Jwqnvvh618jNd0dwpHRnukbO8UP1jqwb03Umh5z5gWqRo2m+6GZ+NKetmLu9mZMX+F37ntNhjAVN4BMe3X6hP014grIhuwtmS65VJqvUSRhh4VtHRXes4eQm3HKccYjYuhakke/PPBvqMssGtM1bSgPLZjMsjstnVWmoc+kjN3ZEWs83ThyO6SkRK6Usj7jE+13eBXILeNyzV5Hh/BKz4hkQQfDwFjcJC1/b6G8L5Y4aK7lQJJaUD9ZyY1tfOX3c9sNPrkdY6YCNhCwoPWn0Drk0QNl5EvsM1smqh8AFrO3g/5tdTbnQaV7sRdQudGum2Z6bGX/UXFWwhvZr4i12UEToCY6ZplCMCzRASiDVZW7ZJ6viEW1rmwtBpvt47eQaKjYwMhFh54OYy953Ir0ceC9sYmteulyaqd5GKXyIess+t/Yo+MRJMstWlSwcs2oiYhEFs4ihlLgVyHQMv67bm5i8a3OcF650Ykq2d/qJ5VzANdVe09g8NsnRUooIW8hLvtQJCDVSN1i0wmItuuEmqw1YEeWLulsWbBWSeah0N2V2l2WGpYQ8woAUyouIJXQasohmf4E/nnunsqizgf7JwN9pbFnjd8h7CPg/NWyyG9Tq9m+alaOO9ZuN9pxbzVA5rEBe9hFqdvwNNg35QY2qVdmjUxoor2KzEoLe4mOqKMYEKiwzxRaIcyW41zf3Me6WRVXyfYzXk3e8Ax6JGfciaCfMHf1ysaccXx4ys1wjcrnZj5L6xN6YzxNtLcgv3xnU2uVXqvC/8R8z7vCiSuzaHyv+5SJT4rEcoV2ZIVZpHiWiiOKowgidXFhWLpam5C8OMxmp4DPPAlxhfTXGwZsNk+M5JMT5rOE28FV6IhwtjOWYtxLLjpUF/a7K/cysJ5R4mqV+vZHdAdrONHNLTV07u/WyHk8IoMy85bFamcjHdlQ3yD6SARWBRzwAIW4rWeM6WySdBHU81sepwe1DrJseavZ0iMzCsFq7balEsf10DupNnaziuNy+sauuXEAI1baFiH+N7LpcKJg91D+NIlgo/o9vm72flbrVJHRVuX6s++BwKmUWMU6k+4iqdFHIbzJ/+WoT4cXEik9BBBkDlRgm6UH466BjSbeXNMX43OMirljNgZe+ny9ZakdmdXtJXCVsNzWV3Hpkq8Bq2mJAYF2T0kQBTUANsLhLn3NpjO53xo1+ZggqmYQc8ePlgxDDRpP/OUg9KelxBTjmWhXzfdkSg3Mxb50CJe7sPw1xuiX3FXCmYAMd681PgrulDYbgrpLrXT08wnKEbYeRiBvGq4iBZXsB1EV33RTeytZLeJlPx7IDoOd0gAWuDmCPEiZwA4oOIuZhCtW2U9H9/OG4ySlam9Rtat3D5A+qqguAEOlm4AsngJ3wEMuMah36MIr1mvUS51SkTUToNDxR5wYV9zCNEIWcJodIP9vwnhbtptu+SwTlA+0dCUM6KkrF/nSpI1ddVkK9o/FRTg7kyKGmzi2ZDzUNpzfuulppwGlRuuPT7EifI3LdVXx8ef/x7lXMQOuZ4wQQnloiWMmMHqh6PzgNi/lckcsbum0qBU0tyj7M2PeCJm+j8ID0uC/Vl4xA3u2l7Tch504nrezwFJvWyF0xTWRMMm3lkcDIEpz2sLgRUTb/aWGd6wIMy218cd2zfsmI+9lwBhtnwiDPMaAicA2jFdT/U3IWZ4FZfXEhdSVB7tkrRPpWSrTZAgANMzPwNzE8zkSsrw2Z9DQv2sZE1PdI85MPEe0hw4eBIkVX8UKjSV62WF/afCVsRJtvFiuqkunl8UpHZVCU8efS8M6AYdW1HTDWLLv+33+cl7yoq5VHRHrKrGHUcHszty2vkOGef/Un3Eaf61Vqlmp5vfl9+2kFNOu31jhV83x7v4KrYZHLIw1w1G0XSSjI+GVncXQEyWzw9BgYkoA+YJMHeTOeaBxmoZ58vEBiDM5fBwr///fpIKynWoL22BKxIs+Z3FJV29so13xUw2tKtVRmb8wGJ896lOyQHGcFUk9s4HhDmLOJhssFE1BfPqJvwUqk4ZTTK0VnkQbGXUXvUTqE45RIV+ewwTRMuotwLBQJ9qJ6V8WYOPMJ4SFveu1eJ5LpFxuC+iR1kUtTq+frYtXnF2uSYvuxukAV/bpZ2LLwYoEKokgGo66xO09yf/OK7yt3lRN+bM29GTlQ81KgRc3vRTUfHc9IS0c6akxdCJdGuWjGWwCsmLft4H4MViAfbxBMT0qPse1aF/5uYuX3Eg7XcSJSRkdyvCVTC13KQh/gdwHoedQQaMPeXmC1YhoCagOFjf5gh1EAYT6mxgwemFc/u+gTTdKS1VP45cJuHiRkDnCua1zIin5MZfnFaMpBxL7/B+UBH5U92/leDzaXCqMZYEY+RwJXyl9+unrHnxOSPQTV4XDXtly1JeWjAm67b4O+E+iAco/iFJyysMAg6wCg182hYgicVjKCeTQdrAHib1Hn1BKlDphZF81+iw59Cjsq/JV80lsGWyOXYxupjlyMIvk+IbIBAUTuFLTcofjcPulliKAu/u2DzM0EPvNEGtmaJM2nPq9QI+42mUHg9Q5MZLqw6pQlNYEkkdbITSe7S8W8nuE5FRH5OuwuTAQkbR+W1R/aV6bGGQ4y1ql8FowEDuwthtMOfmU2grxJx+MO7g2sqjVsrZVbN6nC2tel233bJn4Br4gRT5+efCkzgxx+9FU0DF7df/1yJNZB+WJMqR1jJqrU1nehcUNRxmb+BU1O+WkVG4aE5JwL4pSNDdPg87P8ulZhaIczAuRKzFx2TqEfuD1RvwMaP8zZGx+nOb2F37F+KxMASvja2+5AaGUrPuoSx4NKy7kFkr0eSGrxMxh35XhPLGbU6XHVtPt7UIzpJAjYCOs0xrujeTgP1D2wBIXZpP8/4K+BgCM5eoWfNJcqJBGk53XHAypsIPnRvSumWP7HFN9wARMU3Cj5yFe6Id3c/xW4UPX6WX32dr8E+yq8YXjCMWphea7KZFgzP9bhApXJHB6RFnDZGrANRqBwMjtKkqvrTXS5P00AJGukfTC5eTihQo8zu0blD2g/2NwDAdsiQMWPsR6JZTumClxhGeeXZO8813ANBfSmaETBIiMn9rpMnShA05Lfo4QUw4aRG4V95eduYogMtWH+JQqAdRZIM9AQikGJThsiyLg/7173FRuk9TKzpe6h/C+UN35S+hrAbghjy3zXmuinRp3abGKnxBDSH1d3ogiMN8s8qw3/vGyemPdqBBj6e6s06PhpfCzVz0adt9xO7ajk9njJDtCiWZArmLFXHauo7vBDJnFDLk4hmBSfO5lPJvoDQwLDdZRLVc/t6tovud7wtb8/3mxq+KkViE9De5dbATkeZVt4E2gOPdPH/M2NhkxKLBODICLwcE8Ivm5VrpFsUXqy5cK8Eb9FyvJaTRWUKAvle+8uMZhfMg1gdfByPU3BUbX0xQH4Jgp55Lk+Qwe0Yw2W4Aqg8iYDfYopMKz7WE79WERkwKx9kFHEG/9zeA8vH0fQ9LLp6NZcAnx1KBI8+MjcMWpGnv8ueWthSbc5ccvMh3JV56x91xyUR7RcvypydmoADbzcXPXq53uDs++oqk8pzk80opnHSr1ArltkR9yjAnPZnKRlFk+uiJk9cl15znos+oG/PMhrhOobOXeB91Cd0tIF6/u+apCEqIJ7E/WTXb+/53aH4NB1ZoL3KQh/6EcbEngCoiN+WHubQnLlHH8raD4DjGxvG4mRGqNsV910MoUlAO5Ws4PFzQb3MTd8e8lV30zO0yxBzAzqAQwH7gnff2xe5b5Z8jCncz+T0LIEtzJ4O5VQzj0/wUWGPI/cmXihnOGpc+iPjiEI4HfaLe2tECdoQ6y1eoxnyc/x/IQF0CAwBEigZK0n1gyP42lzythO3fLWEdAANNN/ckiZfRNdbiA9Ix0/zUwNP24lx55/ohElWpeiVmCuGyIaZZaUWzQ8nVZJblHinBm5Clb5XBX3V8yP9dZpWVA0h1qgrOD99ZaqSDulAeuTs2eycwE+5ehkxgF8UDtY4pLiwfAYogvgUPOzmLrGDcqqUEDeO6ULsa+MsRedycT/j0GSwf4Z2Ptn3/VY/NpMqFR4iTbKxOuZfM5dFjLwR8PDliiN97ATosYQoRMpVG2ZM3bCbPNLk8BN2v6FaMwYgFjUTRF1Zhz5Rao8sLmJbAsYOgRfhdbLONFDUkGsC0Pwxshs0JwAln8HeiBW6rPQzLjD0UxMAZ/crJEuFY69K3KY0ds6PF5KSocBoTJzak6kn3GEjGtEuxdYXXHWFZtVDWg8nhPuWCL4Tbdi774bDfS+NJGO3Ilmv3alI+0nCS8AFIUz8BmXB9jgnBCv651WHs+jO6hlSUMkdgj/Mv17COiIHHo03nAFKl9NX2Ff4ea4vjSrr7eGC5YL055wV7T/vDyWAR1cAZJGSbtbaEmv+kAT9wtCAqFzRtICkJIz4SabF19FhQve9m/EFd7Xpgm1wf8w0lCGEfRqC22nYlVMqcWItqofJLrxqApJQCho5ZFa+VY+NiuZDQCY7EqG1Q8uySPo/fiilD04nk2an/HLFZDfT/oVphf056skWwP9biRbm4JZRHOu8EmGL471iI7pK9sedri1q/BD3N8jF/UUi9McaiFcFRhze/PxP0WDkrQ/UbZXe+RyY9z0mqDuQRkLOoBm45h95W5+Rklj7A/mkRo84/7xW9Zre9FZbD8tWg9z/ldcC3qTDzXeMc9HXLmNsdSBNcG89jE5Mb9Vw1iBM5msgsAXxbUgbMwNPgLmVDweuksoxKZKDu0ylN7YoV0F0EGlfXm+ZEDTXlCZyy3DweHqXwKdSKi+TgyFX12hM/SXmHc9FImJL0AKvwPcap6ftho5hDrlysLzek37tpwY3zoyk/35JReNk3I/46YvtrxTsSrH/9va4hoPC6lYzo1MFz88pCjVDE9w2nOrYih+GZO/Dlf+FXvUDvgWqCmfoIqnqIJhp87hG7ulMg0UbTcg/MYUbwQdE1w4QHc2zvMR8Ha5D679Zbvjs/zpWVDYgbOb3v7rgEjnRSMhhhwMGwmJJhiSiOIiaNJgdOM4aLuBMgDrFR9zDEeQ4Py2r9g8kJ2JyOgnUJuMIs5U/BI6PCWhEFSzpMfmdYgeFMJ5oAVtpKowI48z4xvaCATWLFZYa5OL5zmUaKRwUYJc5Yiv9kKZuBZbmMNpAl78bN7TiHPNdDwVsG5OGjJGmIKfh6bcZ5+MCeQEVLr1RxYDBf6Q+8WcfHANZAWDbaWrOysN+Zy7xO8AQRhfmfs1gcKEWH287vNtkutk00xgqGnegOBQnjABzs0rk6/zODspBLqpJGybPepNPm8UUq+3mC+L19sHXc6OX1diW5Ry8tW1Jd7PJaRxLxAUHd5Lhvr72qXaiHgexSB6ahwfOTvuuTis4RWN0xAgcMCt6k2x4qiLVg7vpQ1Cqti9P0+a98vpNWU/bW9HRr1qOn8Op27k6xptDSE5keu+ALzAoJh1PzKAwGZgigk41AxrTvCqVdoQkiospkT+mmfmEuLL5J5zPG55EB9lNg6Cdq6oaKrl9tB1TJjvPb5I8XTF8hptEcl+9iiTmI1qXO7XeYc38jCJjCIDbkzLVKjUYpwtJ6hBkuDyOBUabONDpz/TKDZGkm+5fSe4LhOLCNkFmYlDbqDrA7yHSLMJa6XoDxZEOnN85yFdmV/STYHmltly2yntCvbL1T3pKuOpR47Y36LWA59ZnnOIVjGHmCjQHFE0J7ODNy2CIVi0/Qjw5jr5NUMX7xzxqIrqCyZfX8GJTL/JZBHWPXsaZKhvXuLBTyUIma+LvLS5+LlaXhlcHlh2h+AfAxjUwPwpVGeIr0100sZWhaOTbHtixsOKah+vYC5wcFDWy4uiAd9pD1sq2EZk7/HscEtiivEjy7PT19xqF9du1+MoqIpFWEGlx/Gv98xSn2Y2hPfoEo4tcgbg3fQm05syrYluqhAvMU4CyuNlSoSttIvLKZ0oVWFDLKnqmOr5mOBSexfUnRRCwb8n7iAVZfYt2s2GPJw+aRnThX/kA7opAdkhp2hKjqDVOSUZthw4if5y6yDXSIqiA/Yniq00ALsPbBBKOVxaMZVKUlICp5tjvnAlRX/yxM1/ybNa+LVR0ZiSzddRslyoC6505g28QtFo+2lC+oXjELXobUaiRoYZe4UY8KLWhgsb+RJvRQWVouHnYf+pR3Zw+SgPkAQQMGi93sPQK5HbdKlyJNcVCoTuU25FXKywasvtZ3hROJhW+n6yJQSNhNoYAShs4a69FkYQgmJxYj5gUuGg/kNlmzAMI2ag4X4Ks8OUdrCxIJD1dC0VGkymCYaTriH4nwJaeaC7qMp2YTtUS3lCS6JDvSPt8eJA+SOFUiHa05dcfl5F3vZObvdFaL2pJrIe/wklzlqyKmSGpSXuQvg7ZkMnytVbUMx+CB86baIcKjFGAV+wPkXO3ZBJwroqLDNjaYzQqMrrhLMumYgfn0GOIGmFkBzA3vnVBxQrrob4xart4kQN6vqorge7IV6aIB3/B3Z2wCqqSL+IAEnrPnxLNuWvSbainygD8/mKtAWv0s6AjvT2XtPibnEzBJbMlYFEw8kkvjCoeO+5szAmb5MNB3GJCdlBKFzXCyLOe1mBg9JK75mio3TuWtAYz3tSDrudVgk+O2rqg/B5cC0yM7pH8jzHuyZVHaefad42ks/wL/AaITc7CuFTZTf2wM+ZADvmM2etXFCYaaGDAY6KEGA7I/Z+A/Be4/XQEKzZeoFSsp6q9SKaJWA78s9u+K8DhFXi50KbA/gQ8A1cT9xkeP5J8Fiv4/xbzyAF5qXcqVCuDt28woCQ0pIeFv09vXhxER8vq6iEfOzsOz5c8ohL3HebHhjinE4fash/LvjlNWmrMEgzDEqAarEX+YSCcLWH+J6j9PqdCWync4P35J/0sOEikv1XP+CQaVhmzqTgaZ6preOD17kg1bg0oFvO37778Vd7A+tRzvUsqiw2CWtsoX+DJqzhxl+ntC0G/atgJbkjaXItI6ZsbPOIcHnvY4+jTMiI7IdMwKb/x+bJM3SP89/8khE6J5WmdM9EqSbiiM7pakwFXNl63QAkg2COsKzlJzzVqJEEUayejcHa0YNmibUc9iggXEng+SxjcPoIR7cXq8KJNILsLhr0fgVp2iV/IB44QLrum16C1HcstpuNQxoAmPVFjBoivs31sdDxilzF0RvX1BUTwmpF1SouB7Iu4nd5rbjCAM42phvMIPaTczl1MKW3X9AY/wQUMFFuuBP642UZB7yvAL9jNGBoL8ByLUfnYrZsRsSJIRONUGGkICILb0NR8KmUxFex/Gxt3QCk5T3BCzgLdPvTv3IoeWzGIoqmu+dOszjdA8y5I9zWpTJ/XB+OIeZV0g1N8QywmcqrkfQ3HIq9n4KyjTHaA/I1KhGrcTRMQW1iZ9aWDYmJmyTiPIFxZutT5bFMbvrFV25Y3yTAYA2ME473DW5BJuUKwYSpineuWliCveVpKLz4braENtjjV5XMu78Nyd0a8T4a8D1yvManH5cQCq032WAW4MqfRjSRjZvnkcxeFprS3dXb8EiPEbSxJSUB4QhHS0n7LZR9DIS/16/7+z47aPryb5VmnabjD5UiVqLXq9PdmFLB+HNmSvo4UoBgb7RhYbe3BZFjjgeJK5gNI3GohIoOcp6i6Zx/OPl/MF68T9wIip2VX1QuPedV/EWu3X5HPMxNCSNm+9p+MFwzGHJfojDS7X26idMjI4NVza3LI7xarSmWpo4FKuhuL8DqQQIDzNdAitS15gi4pyE+HZ2Tup2j0sZjcO/tvs3L3nokjjDOrJQIBrdDuhlrKUZw/aYTBcnGBW8Q5+Je3lU1aJivzvjfUMvmeqncp0+tpwatdGtNhdmBrHGn7MqkM9LqHjVyvHAOuH+3wiM2XDg2M3ZKmhh+kIUjvaOTttr6QgdcYfgsA1M2OzWNnnYNw0O56iTxia+fk4TfcigrIYvfA43KlzhETh1HChxQ9nJ7MaskgvVo1SCp7G5mCOCOu0cTaMRocSsRfdqicfK4NCqo/39uL6WkFTSdkuvPHQQGLMyulH6Yw+nj0EA/KJX9q7jesWLiIKmztb8QVxQV3tVqoC4ypZs86I3Nsb7nIGWLmm8c3PiPCVlj4BMQlP5EXqKTn+/zZ76EeF0Ly4mv1eRyrTruJSNZZ65IW6U1uZOmUxu7tCX0k20OAISfqKrAvvFIEkOZgDQXS0DZClubGp+iGA3oIYeBROV50zuOyD5Yd2Im3PaCkB1CJ2GCQM4FDCQmrTKWLvwYHFfXXEzt+/rz3iVS6N1s3ZeeLYPXDojBTLoIZOu/KGUFZygcmL1l2o7wMDMY9NGpb3j8xzVERqu3+HDlN/Lh3B9PX5OIsTzcr5tmoW142HlxBmzJETx/kH3h+HOsURfucA1yhG4T7+oaGOotSgR+gA9Bzf/WIDGMtXJo0WVxnUuhVLGAaXqAt/3gvVVnRz33vZNaBBYcJ9rm+LxaU1ZI0cgh8lRImkslWhwB4eKiie6ylw+U6zgzmohgiRAGOim1/o3I4ymW4i1yfBA9V/5D+rix8eT8jXkiH2O2UjME3gz8Bs10oYDmWsihHU3gnzEJVqkBhFLzapKfVqVzAixp6xPPzkyEVqjTEvaV+ixNP67RvKKTXMCqUWcZWtj4gEOAIw0sMEr+31aEEbhto9Kc05NCwR3yZ46Zn96LzHylUWqkSn37Efoda63u35ufmAdjLLKNZ1qz8wtI63QM/iQBvS7eIwthh1mTvmlaALDZrvK0PCmprTPYtYNiC2OYqlWeLWWXk3QZulryIYrOAvKIHWY4yKIKeT83/6j28YtKG18Rhux0FOS0Q/sOgkk35zCCInhg81odP1yiZjvdGj9MnTHalX+/KqWe9OdlpIb7VmtAHLzdzzxF6CZdkQAULPZrxuDVxGg5VuUic72+U9gyDlPhm0rGctiKj5m1Qg2BULUw/q5T+xWJQGFsBvXD3BUwXdNdzTfzyK7J0GiR5EgwImxrNdI42JomSwwvQa8aGWeVsTJwbZGp+29BUUV5eZIV3VuY4/OUvp1XK3oXF2wR9Q+fjWHJ08iG6Efql773p48JLO+RY6jlIfBI2PjSbk+e3/aNknmn+1mSCsd+QHruadbUVJxgFv1S+OH3h4uzEcgv6iPLNWIPbmIBNVfUKqr2w5O82MG0rnNlW0xXChNpuy5NVwzkPzRBQLDMqFVfK545g5OPbjRahf9O//K/SLBo+yH4yJpO69encYLJW/1OwqkmC7eJW/LTzkT0Y0e0iWkydkl5xHV50dwi2uHropJBKrsu+e9fGeglqe0CjIIRYMlWOru09dBkXkfQQyyaPJ+GM2s2v88rf8NoFWSZhkPC6Mr/RRJCYbrqISe3IMZHU4RG6ov4uaFYq09l1pVKB9B6Jl6q6U/qsfRBFNF89sE6vm8JFoZ/gp+XlCyw2jY/hvImU1Ht6Mdo87jIdJIUsYazBhrwIBLB8rMY9tDd0sU6Le3myT4CLUYsAAfYs4ivvRF5xGnepJSdYB61haMa3y5NCpg2HJrbHLQ//wfTTX/W5UkQWKFFDX90Whq7KORPKfFHbhfJNyg2CJDOQWpCgHuZ4o1Bdf5WzvvVEHIDN1pt5ExdxtrgwvGeEOQOqjDMREG+lcyXHRiDsTFqkD9pPFxe6I6SzGh2Wv0m6Dp0EKZOct0qf0dTSMjmsmxa/uAo1/NFehd0GMhvx6o32Q4nToSJqZZnCnV5JReWdiR+UhoJrJ3VBLPU+Yz4jJhrZ+3qkYjmHSacOOI1ZVtUimN1UtYP6WA3liadEmC7tLn7VZgXWQrfZ1+IlC41SP/QoABlvwo5UVr7M4UWQwmWOUe0wt3X731ifODFO2ya4XwOPOOZmKcNuvEz3gULSOwZ49hD3ui4MhHdm21HBiOqUofXE6zKB+Q64QzzV3pQtZqxKGgZkWiKvgl1Yrr4UJnvIotlPvtX8ovXAc6pFmAyJzP1nqdsaOJtZqmUzM4Nv4twGPBxgcbZEDLC75giFqyIJBXY2KHC9G+kArUA8bhrKoFlNLzJu3M/jF3h03tOpFC1k4gBm0ib84kW1rbdoYV90cSjNiCJfWGXBnho+jxkXxlv9zqTZHpn4//Yf9tkFeYqezzf3Xqlgpu/jNRqfPgcq/klQ+pVUf8IZJ6HyaE1HuSS7KXlpKN5dS2Qn4Hx+mYDOxyx2knf32cjR0JAoBFK00lameGfjwVjZ3HUtSq5pfeSdXdGjCZQqDRhvaHQzOnzDs0Ph32De48dBb9y/jLPwtRB8D0mGmgd1ck0EYOZXYdA7WF98lwu0ZsRh4d+U3yBFwTfprHnNoke3u5YbzwcjtHd+JtD289jYoPaabBsmgtttayjBi3hb5gAQzRiZW//sKjmX5DIpoNzPFGmaQXohFMBgkdts3lGRCThfBuFcio9cJDE0cVZMcPEzTTJdY2z8hkkqzPm5BOE7LXHjonaVqL2/BtVcufOWud6GoxUVhBxyNHsT9iC0qD1WmI8uDVvKWMCDV23uobtkwXtc3zJ9nRJenQcEZcWjx+vR9/Cmu32Qf0otxTSSB2PFyR6kMiYACodntwt1qefWyh8Im1p9rZd/CsRQHwnsd8g/UbgTXiy/hMqMIebfZoOo/AY18YrZEInXSjBx4Dgoh2wm7O3hk87ESmfYlbs6mWyKITid5z6pZQ/tKwLxTUj7S6w6s2QHlRC/UUT3eaB7J1DpejN7zFnwMZ4CC2r0GskS3Ua5e/3h1iox5RaXzNU8O/nwWq5CHbr60idpRJSbbHSPeZMZ6zX2md46n+8YnKPieqQZbl9cSGr9yUY2Sf/O1uRc4prIwFJ1NcXBlIhcvb1iW9/jNqk2raQpWLsuZeaE3WfOvNn4XyVSsLukxruTsWu8qs0SyokBanwIAjGvJs77LW/qpsGdLaV0CxMVy0tM2+g3q8aOkEg2j6Xkkvx1N/rS8muT+z0lRjrJsk57QskTy4ir/+x3Ke7o4o9FHVQ2KkrxaoiYpH7zOgHAgIqOJNFP+GC0Tif9HJOg1LMD2WqwOSa4mRWIGspGQfrNktQ9yxCWV+vD5qBajg6r4dbz/VSzdjM4GLZa6sDSIzPomMDCMSqJJRtUcOsf8b/bKOKxjZK2z9L7nWWFzYV3vGuE2LaxwwKT3PCWOSlznrQXzhqZaiurQtMPqQij+XJkwFUgpu048cJZZZvPtmRDjMHH+nlP7rOxACLEI0yt0Frtb7R+HiY/gteY9EmvwrDkEdIQkuljNC78MgeDOA7tdRh9cp7a9TT6pMp6iLtlQ2uyrsKBqTYctHuCBNZiP+FQlDBhMJW9m6PEyivcB89xv9KtUpn2S8XONcOoxXUpEXrP/h+U18ySDhNhmz08Om4pnSn1qHuIh6ereByyVIyWVnZH3RzAAt845LXeEC9bUVlzxt3+Al0vkL1/erDrRifYnOCpqwltfp2fGTDhR1+wwxLl94NW8K4OC7o78EORM+9O7dzu7lWtWLN5xeTIaD8Nt+gHGUZt/LB/fY2y7H6ra+SHrRUQjufVhm8rL1SpA9Lfck7PmiXFtvb/FNmTlbwSL3bqc+S/NE4OsFuE0UA+yWo4/fAaabaQPkW4tXraZfjuwZUk2MJRafULdxo4pP/5vMXwDSSSk25w0/6sxHWqOt8yDrFnhC4Y2WSMFG3gQhzKQeD6L94jVPh911vxNWtUzcZ6blRZcObkHFoBXzhYdzpwO7N3fucfjm8Wr6oOS4ySzIg8CxLndVtKb3M2DsndAuz/SsLEtPnLYxuOmm8MXazCXEat2xZrsdf8f0UNZJIR35EV0C7n80uNGOJ2pNqpPzD6hxFz4PAnfASDeyD+M5ABM8kU5ngNEYEED1x5mksRNIa5ju1Sh3IlBcENOL+267tovmg9cAUZmh+emTPsJ2hdW7XMLkCYc5YPFROi3xf8eIQhBrtvQdjL3/5ShOb2XxQ+yCK7bsC5AjyWkfNUsoKo8brzg3nl8iO3W1mZ5/SDGOVXmboUNN0KkgdjDLY7FNHcLUJAHGdpPBZXmFeiMmd2jtrpznWu63H807cK92QXXlsblE2yeOEHmQgGVw5QVCvLHaDnPeZWWuQ4LIcNw1VM5xtx1lHr42KENyWkEN4ARXbVm3LWrKWWU4UqelzWfkFQUtNPtCbH3xHQhdEcN21Sx9Xm7+/DJ2r1BZP4i14MkoQ5orFHWsB1AfAlTfcE6NlAkuFjk9mNolwU/Es8GdM7WZq8C34LPR7ncnQ5XDz4+tOAKQ+VZsU6T41KLXQrQcuHt0Q7euV7A4MJOpUOntGU++gsb7zDIIFBJQ1rRUBt7YJgEP/xtIGDO1ZAO2X/CZ0VtisvcvaPPlz2imln3NpGSRw6vV39jUD1nScNjdG3qbOYsCv0fRFPqI/3I8TLe5uMfo3zau7U9oHg3lb6/kYuJLz+jCrERSW0DI9ROdnBnyoGaKD920JAOF9s5rDB7uqxukuwaFF9sRdw5LDdAXV7n+xPO1EFMUsRArikMur78jiLFLX4wo1fa3qRiRC34PTBFB9WiY3lYZhBCWkJYFBNYZdYRzsBQXDNzmwG0V8xLk0z248s3dBEx5Wp8HgBXdWa5QwrBKqVz8jNz0g1pC161VI+CeCY+8KrkVnnBxnT4mbY7+jBwKoYzLcKoBmt2qKA0fT4Bq5Z8X1WdLOkj9VRe7hU7ntJ0ay6sGARB4P9JN9sbDtHos5I+5tTyQhcoDDs16x8kmnTL+5RsDch5OtfluE/b7r8P045YRvlEgie2rQvd4/PWrdWIIpVSJfwa2drPDS3v1ijYUj06ZGEJo3z67NhpCJQHphWgHExr+7KVDQEfhWdq5JyZmzdFghs0lNxbC0RqDhYenaoYyiwFqid+Yq2tIya85D17PQCWgkX7fozrGuWi9OXAFthic4t/QPtXrlbuLo7vVf54TKYtBKQmAtu/k7zgIZO2eNlhvoSaKsiHYAUa8J2/0AvmhR940lN8frZwtdkFgVMC/gZABHqS7GH5wg5beBktX+p9Xw5NGm06NX8jq8OlUqU46NGbkq0Y2Bxf7DCbBOe5JsgRClw1ijZupXXvO3C9fNUAbovN6WFtpZSBz2WRCIH6dJu72zGoCDMr17GHJjWBuYtyonVswtrcSAx8jlE6d8tLf8wP1khmiOpQ3xyDBCbbrJ78JSxy5i+aZz1KCKi/EmQnHnftmlhbOU5sgptH5ARvn4AkPsRi3wQqowmRYJQzIXKRK3fjv+R6hydEFUmY59FwUTe0q1fNXc8tCWYhmARqM/zBLNMupgYVEnzEEJ3wBpcA32dTNH1Cm2pd+xJ63w1X/Fc7jFbSjZ8q1ahNnfPjr1aJkR5J5dcAIszXSPvi9GiRhodqOKY201LMT80FRgDUsQUaeoBZryPkx+S4WNzanjcLD4FXaYFhYosOgP9UdHZCTt829aK3s7oR0uVrxAhkx4fg8ZQEilF90Jr71khwjyl5qf4jIgWIHIbse9xa7R1OZdzTDtiZ0vbJqq2Gf+ZLNZJX+u4znB7QIywdEOCJmgACg1F6VKbPrD0s7WGInVBbtd4IQ5+eXLUz3eiEKMekh/IO4k6G81NRkUf/cJM9r+qX0jJYV7GvSAQwZ1X/pRulP80dSuzwUQfuWeulIdlXmFEfsCzfDp0wHKTljPVR+mmKDbRsHTF5BUqyKg+0PVuXqkvEL5LqHVHYPtANcPAYGnXMIIbAsRgp6mvtwDLb28jw3yyPqXYrEbPMKyIbeDsU1MDxU9dzQ4J/Qey0LE2RKGZmVQ2IQ2rGO+socxub+zvRtUHBCZexfzQmINrbmctqf+ZZpz9rqDcxKOubngYMVZEG/p7Gv/VOjI/Vn4QzpknOHJnnzNlioTtL1Qqr77v/P7ZSFlUI7DYijrLhiwnMIp5R9WRoh83fomN70YD7H5mfTok+E6gKdtivrWxPfnngQzFUYI58zBdSI4MazXFpOezqPW6tPyuTExWofj8dxhWP/AZwJbQ9JPgb9DJQvza9GJw58Cmnmd3yxeOiBPHpoWARF5AoahQPiZOazQHDozLZlXWZDhF7KMNX6ETGpYlTG6g6REcel1MCri9RX3Az9So7v3FG62XE9Em6ShnRLEmox6Uia3anjfWzDJfqlCohLsogdaJlUlHfwm5Uwy2M38f3XbcK/TNu/b+AlctJOQ3UyEYw/iuNrrfjxl5AZoWfrmM/Fl3+4I0B9x/qUoBaJZxkHIe3mlCYXrN6srdSskVE8vdh/BagQVq3joL7D6GTnYmyQEKcgFJ3dXjR9a12fwWsI3HXTP+CU1/JfSH1cBrFBCAcjHIUePmhzuiOmR4VeOJ1PgYBJi7p4wQqTVeZgB6IXFYSc3bx5el7I3XXf4W7hS0IJFWooO7G1IrvhaN4fop3kHituiigoXN0NiK2Xlbut8Xk9h9lcwBpEiPXhLyWjMhI6asjCCsrW2A8ewkgdu76b07cafaFGDuIlSE/t6yEmQ8qqbVWS1MzKZRWJbdrUYVZqZJnn2n5YcVam7h89tewRuYSTsIpIATupiGWQBqZWA68Ba6221GIggLSHi6Nim5zdUT4CdKHtjYfbn4/sjM9tEZrzwcNRghXPGTFWP74cMBEeBl1iENT3kS1W/fdQb2NIJwUWGppu3TA5vD4m1gGnrlJiFGjWmWhdy3ELynigr9QxZbi7gRieVjlUuzIk7F7dRx8mXOE2oZcf5FWCAswfgmeDgY191gHEzt/hkefLNbPLnRU58OkfMKg0VlfOIafAbfelywxkCaIRtFX+B1DDrqAyDw+SQDX4CdBp43CcUimyYsFR1oYTWbhkjXjfB2kBvFEjAN5TVFybPU03+sfB1LOdJMrW7Ksit5uzwlL930Toeo1HmM3xBnZZmA5owM3uTcDyiRml+7cNBvUqNXx+ueXujJNGm1uHow/n1VKHyU6Lo8P/IZ6juNc7a88DFJtzvQBb8bKPFTjap7Cehei7lTnp+5tMQ4Y7t55QYnuj7GtcHr6xHkAHFYDbKDxG8nonO+pMg/LuQvmezc5Trh6UYi4sVhrjKSD7ptJEjoUC66kWU28NgFNHqITVqCRu6//rPCQmgGgqGYz2hP1h6AXkoXDRPw3WNnwFZ1kAWiOW5q+KQpBctiXrQ/VvIy6KkGt6uB0xY+DDWHFZBk1V40CFeqU/CGVRMlX/Hw31z5EVBd48OIoiTuHGtWK8Us6szkqiB3HFLy9SbJinN2tE+p+I9Wx5JuI+jupI/yDbPUV4Oc25Nld6Z5KT6+KPFViYwyB+tn9gbT/BLUVCEgsg6Zd5w8ryoTN0nYdWvPUKE1XzFPLAqUFJTR5y9fYbi81KM8CFMYbjW07CCnf0EbzUcGE9QrAnFi7HFSUOXc2BWdwhnEvf8Dl3eY6mjMT4I7zzDd+3lthdNOwOOACqqzUUQAgzvprDfwDqflQDEjWAhw6YMldyqIsIfTbdW8ad6/BNSMvW1+QyN2PTWQ8C8RIvaHIwciLZXeSjkBY/X7FJl6U/wBh7RrbTDTqDp24ftJjGwMTuN0x5QJb6gZBw4WnZM+gkvxyYIE+mAYrf+MAw3T+B9pla6BEOHlZkb1ephtsMm20agI6lCA6g5QVc2xC8yPVq1ZOHrEGpvp+mwTAstPGm11RwXVsKxFf+W7pKv2EKQY7KXBgNiSVkmhHCyhi+F3I9s51qyJ65roz1yqU00n5Z6aZZuE7fcyty/BWN6UM7cWzm5mUqtJGdNjEu5+N/ODk/oogWQvVjgdWdsbyAmF4NB+p1/e4atYr35Utl+4UWjOU6CfJ2URRdbRIn84y+PHGp3IQubSebBjSNUrWXN0HJ5UHQqsuj3nt2j/lTT7UXd9U5qoHvl2elWpkxl6y3h5TUkcDrV6z86eIBdRFMkuJuLrv0yK49h+mj/7aQmJz/hwWHsZbKTQJ0r8US0jrmYFuV2Ns1vPIBjrlhgOZosh+asaKfSajiqu0PXp1IQRQEvET8+4o4KPegGkCbc1yEEm0u72nYOVPSiVW3Z7fUHtarfjLyIIrcDKqomOcFusCoN+R5NFZr1JqYUFmzS4493NMo9Qu9l8HjqQsRtmxPRxyXuKNCVc/VWnexoydgUXH/YkK1IImyqcrxaCsW5D4+6w4Ll+KzdQ0eMc1TvVAezxeQwlARvxHySLDahDC1sSGUCnsSO7jb5nnJBegUYZLuLjUeE9sCoscoyP1wpOxP2X/TMZ4hkx5N9SgohCQES5Blzyp4rK5+Qh6UXWK5gOMQh5oBlYWZNzebC+95oFAbA04X6qyy9Fv+8GAAQv7ZtpG+teRlPb2NJ41tT/vClMh29Wf5+ZMKfRsaGLMFEF3mDDKTjHshsSsKWybZPegkdIG65XUrPGAjhSSeQvWOqOREVqbO90cX4p7z+sX10wfyCrK1NDjq7l0ZxP1MpTwGxQtIyVaH9LGPb4ACPktN+FA4fTdr7UiW8GA5oFd6Q9/Mkerxc4tNJqSlz5NJOJmUbyFvmjvri1EuEcmtfE6geL6XBxB2bUiJHsXj5YQYdirRFkWMi5QxRC+GHvzBhRHGPxjDaUU3irjccrRNM8Anq5Xmlh9C2zr4T6jiEJ/xVG7SEflbGAHsFiRZ2ntLg+pEEno7jdAG2MrtFxZzy9BTZIqGvBuxU0LpOjDor6D8HaDvK2zl+3li0n3JHM02NanzUh2EZZcAJ2afojnYcVJsyR9nFqLFxsGhC1SISoiB6Y+aWPhH2tjhGLN03XnIjYM8IN7m+icm7gWp3WlVIBR+qRpYsFwXXOhmnFgcxbBXZrfISQMS4HdXwqSAnI47saZKauuc+DqqpqokiI1QTiy5FICHhXn3vnAJ6BMJZZfLTciojX3EtIj6yvpilJIV0JbfgZWBMXGevK1j27UDx7FFN5cnwhqs+Gk8VIljtxGYOgz/P3qVbV7+krrpmgWWWdfoAVBNYNQazWsLPSEsJYboAvoBmIZJcNxORfrJswb9TmYk+mW9Icnm6LB29GwsdfWVXyfiu5ocwFyAMw24+Nf4m3akpb7rADyNTDwU1RA2m9Ub9hN+lQyQJroMEihy8V5ybHotkSjZlYsznBq1eSDpk36gmwnWpT/sD9x1CXfYJEGHVafHZXT4HKsbQ3nHbpMAq+sNwnDxTa9V05spj8LaUtS8u2INMnkZihrRprlRcVY6PHfj+nld92KN0ueP46sJK0KwiJkEFbmeCsH6KEFlYC0s9lSeT6mXk/AmhrWC6HZ42Kg6MB4G9a/4CxqZrHKNNyeh5rqK4ct9LVr682TzjywYJ4Rb4wEfQ3goiBT/fMbs2oTdfgS8dWsLqE7f8WMa8dGamilt5uGE1Jbt8XnhC4sdqnukMJ4uHPWIveLQNi4wuIsLtsOWW24HwAl3kbunIqzAnF8C4ZfQlWOOeQE74AMIiMbk/7o6hginWEYBHyuz8h4e2HtFJkWSE7ZcBvW7np4KUEtSfWsPTk+7pvtZKDNRM51S3R7TuSotAF9hvhBe/J9omqoqeV42yJF8HqnBxDOiE1fRGyk9lJs6kUPy12ZHfIjP3eLTgrtnOx2qBG9Y6sEP3xruZUkNJudEcfTY819Etl04k3OdacLz+n51F9ONm8euBUtdq0FWLMGhiLoAx0QK08RpkOCGsQ6EH+XKPqMVuIN409LEbTMeJB1jfQFNqt5dpabaUy4fkaoM3Julpy+RcgkqGzPGYQl72WFwnfVcRequOH5h+bKVZVpLDJjIfvu43J9hlXGaW2DJ8V9D+LwS+zrKwfniAAhXF25J9mpPEF7ndziuxnzSjsE51Tc2UEqBrYx4IhAyEmM9SEqZ/OfBSbM8+Mi5OKTvXUZpzKMpk6kawun25Uc5ye/PK+avMfgaUY26qIt+6D49gP/gdVGyFjn7qPXmB4WLNoEV6DrH7ZxGZCTY88A9ZLFEw+eiHJl9spsxAuO1NIfL5Sl/KJcN1kCESGUINFchoVMpVr5MUXvvj1p1/r2f08cze3+eI6GLYNFCIZnquOFZ08k4zz2fTCsqugv8QL9Kn6b9QWHFXRCaFMVkRgStoFhFV+KpwwyMYwGRYiDVbK+hskRv4gBp7bLNCBgnL+GZJESGLbAQFTeA751/xlmK2t9TGeY6sed3qOdr+u3g685DbYpnHN7grPpwUuWkux7vbAUFfeyUvcj4bZAuLJflCG6nmmitF1nYtKil17x2JPwzjY8FHxPiRNX5vhB6XJVhCc93zNtfyi8TuQJ9soCDqibe0FSVx204jQc+rdyzpVDgRE6utsO9wKwvou52PFyAWblknlqekqR/k1skjeZPaZUGOQ/tivjBc9WnrC7vknVpPtRklsc50PeVXyjAX5c0i1k/Ey4uYd9zzBosA/VrF05TDk+g35Pzjbb0prX7Xj6T0gT5kpQa4JZFlsreJ94sAICswdGcodWOqwwW/wzIUsXLG8veBIWaSIQ1iaWk1pwMtxOWULUCso7F8qMhUOU+oo9XtwNXRZTW+jt1P0FGa7o31dKghuRSV9DnCZ862PlEzAVQ3bQBrzhG0yAJ6nADrWR9Cead15vrfcS4YAdmsfcwQKvSFJtWfvTAeJePaRwLL6/+WujpuO+88FoY5+Q4bms5OI554LP95Z2JdUpWGSj0JB0vhxGsTOXZIv3yHzO+ciMl/wKIsh7lkkBGxpTlFibfFlSY5F/ibNGviakhQDUUnRPshrCxs0Hl4P2kuCKCIdiHxtHLiyrlx+uSKJizQkcFYPoiTEQj+1df4lXbxNILZ3b0gJ/I+Q6SlSFjR89gnM5DQpOcHVfgSSzhQx8FsZxWpP+BKBXnKeTayo629Rzt+UCwh7CZ7sUCyj94NuU8DcKPneGKoF9989Lc8utbY1xrxJb/uDI3IH1CrhoYnbqV89cAFrjv0FYIQiZl7sBY6/IBSGT1m5FgJ68EZ4QEeDLIu67Hv99DI7xV6rVu640RKYo1xCZjbH7TiY7UwB961rsjMtP4WdbzZkDBlTO96d1MKynQ6KQOwdLCX4YBbiddibISHsH3foxhL7U9skTZj7gDnt4TOr92YDFGZHytXBpavbNXkrlnPwe8Pk611erSCi8D/DUHaCZr7LCzeveGa1uQ9cEB6N0vrKfDIovn471zKsVgBaZZ/PNF7Q9EEjbFff6k8IZoDE1gJLZ6rGGdqoerfhkesrHskxZ/4yY74iL8OxFPDq0fF9kKuHXXfO2ka6GmdSFw1NMKatiGR3DHxDAT8a0JBn6KyRdtgwuJ4bZfDmFEZAXnbrBT8uKpVbYHLwH88eVMetpb6WBtiRb1grz64n9Qb0G41W4vG1IGJ5fqqefDasCch+F6zJsTJ/LnCw8ktjbRKTW0shojsKveh5YpxrblMW3gG7UeRuncr+RuVpC57RBoF0g9pCD45dA+cBLwhxECmRm2vDuL5G4/NEzCp4qyX5eXj9vNaVfE9wkmB/EVGQgiMdDVm/5eeVJlkiHZsj9IrJdPEVDX5i7z/0Sx9K8kmXpifxq1ul3DI8wukGoMImLBGApGEu0EGAjCvzVo27xojWwkMW/7pMo4y8CEMTITZCuYhw0xF1UUx02eAIAXwANqA/qsCe6Ui1VVAft7SAGqjf/rzr4+xv2t4FuZ/qgStIRFIvs8NuP3/47or9kKUMaMZBbiKaxRUKI+4hFNM/PCE5uY/OBOfna/Y6JRuIDx5OIE+6BB7E7KHoOckjSXanAAekjywrvvA/wrrtLnfOmbJV6NWUa+jFXI4eEeU8XmsE+B062R9S8vzViFyeYAm0D+vpe+i2OY3FfStXL33FiBtMuUFJ2UJQr2hRQwCavpNDqDsUU283Sm/RPN0pvMREeuQI4N6X6vQed6w42W3hLNGAlwzyJ0n7LKPzA3GRHoPnf+Ajs6Ish+3h1pIJctrvRErmHh+m5I9lykPb/8z8AGoJc1yj15slsEmdMaZUuScF/16mXbSGpgvQSX42+/QKmUGWy+aBZ5G/hoyPhDa/arQRIn9KkbEQ/ujHNUrh6yUe9Dj6PahuqG9FDAr5/oI0gEwQxdPG1bMBJ6ocEBLi+KI/g2x1DV93yDFSedG+nzewpuw4TNFIDHfC4AfW6bBp6RKhgDTIpD3As9eD8EAXgZjYazjr/BTfCrpayDltlSkWkWiBbSzbjRuEGBdi5KlxFVvlrav/mx9RXfjMGLego8gq5pt+GLlmFRVDdvoiGOBx+VS/z+rk41Z/yzgiYuRuvW+vPIgwsj+RtOM3osKtTlMi0ew3dVQrnfAvVCHJGRugtWeN/MyyEmzBPGSuEr7RxD/EctIW5/PrkZ/qLkn+zhFxoOoeamyVp1aBdZtETpo6B857UaTel04/VHWyos/+JfDocIf+H12jujjycNQU+n0jGiMqnW1bL0t0Nr7hrDqcols/7o9Wn/pb8dVvXJUuQ3eYEbWA1Nzu3dvJFEupXIKmjyp71w/N/4rDbNTUl5T7cUezkOUrSaUzun3lahbKBC0gW1cKnbQ9mRItlJZXYj1/1bWkq0GJ++WU9E99OpP83NYmtRvXnZXJCY7+jIHMAJwTyVrrWouS0LB7zAD5Q7UmV5l8Y3iK+t8+mNztN4pNedEHvIy71xElRCwhEbj/SEweqCXfzQkLkj4d2dfnSJ6cI3++3EGjG1VRT6uGAZWqVT86xZMhsf1cmhI5IBr1jaThH5RMfEjS+B3bret6WbpyGV6XK8ERhf7zSSsqhNhOqd2AJLqLppczDh6NrWfvfegYMImF0+RifrnZt87UVEVVnypjyp6qF+gj1leDj9jte6ARC/SEHZKJ8NszPlCRWw4uRm94s71XVBkc5WwPjiBcwiG18T42h5wwY+2fJK5yDZhQ1kBSSVN3Dgc/oy7969ukz0HrkcVjerlJD2dnQxllR01ZkuQExYfh0tQSzflTRCiiYrHgCQU/GMD/ynm3p5QcGhlSwMU+Lnb4oHUO7Mw/qRpG7yHm7ANABEte39Z+i6qYzbDarxgKPPARbkzvtmh926p7Wvnvd6c+liITHGXAtLDDDQVrHZ6xLpDvhgJBvmaf6vABdHGau7bUXjtx6wRKyTnNFzPFmvMpT5dlcz3oBtrhIgJTVPrNPBnMr7+yKU2pfWC1ikefH/Y8VAOzDTWYGN/wmn1CPnEyFknBjN9kVhyqbpCpVenL7ch5uReBd6FOKlKOJ0qtpKT/1D4bBo9TZuC8GqqhRHc+SIWXw21TiadBce0k1Bxa2VneNy/pqX4Kz6mj6JRmHV1hgsz43VSMfnBY26U0R1AOU1cDTCEasyY+Pf9ACmR3Cz+M/26KVsgPQ7K0vZVkJCPmxHSsagirN2y2wnXKuZi9Mpbk7oamk86IpPoQAwE0qY22BsEee/8SsiE/W+CKpRTdOsePjygYYUZKYVrHuk7sIleWH24dVHp7g0BWUaXEjvy3xE5hihD+x0i9Ib3bck0glc1YZ4OMZWRbxuJwtOmodyuaKwpDjXoMmT0gvjaJumThrkUBa1fz/JQyCcHIaqno8JchaKPkA64KXzsnB+JA2CeVCMt70fshYJT8Jmlrc8U8+VmfNwjN9OCkO/Fvfo/EZJhQ9c33hmbG/Ou0HNHAi3aH1N0lBgPg+zxTcfjP9nGtogpSquokmmUAKYhUJyA2aj0pXNtNAceAvoox+38z5p9Q5iBz7uIpibAHhPasvU5q238ZygZ27dpPtBBHvpXzU9n8FFlAx35NF3u7wCpLW2MKCCQmDlSWrHmzq1ZCuTxKZdnrsa8mKD8jHUskCVwD01Uj/f1jh1URHGDsCVcEcpGjGkOZ0RRawhNNm/6hazgjZF/mvtmJBsjnBqUA6KFvCdai37Mk6W1njeIsCAYp4hOm01/4Yemr7Z3Qv1Gkz4VzAV7bCw4yajjNtbu3AWrJ0OcVgl1lcuHK3zDWS49QJEH+YGLLx9oZlyplTUu+r48xqg0T2qcfNavkZsUOJJSFJBcQqBU06wLkIstjZMidBrFaNeHoO7HdweepHJ62Wv7/hn3bISlTTVO+3GOypdqm9Cj/HjbmCrrhyRUm4mOooRgcMd3ak7ZfOJgaOtV0RKjZB32Xv1Nlcgd5LCS7D0APbudGn+nyFuG9VhhpHC3UrnXDC8XJOnLrySidLfTD8oJpsgZZSV2BnvEb1pJGpgc7XimmSG+DSmb86MrtWzgywRCxQ9bnho4dlWiZ+Z6VC+9fSuOHEj8L+S/PUijF1KjwWhuGz0KAnrmv5btO74pYxenNIcYioKw9edKS0H8KIm+tuoH7zvelyrnE6vD6DS6JLS6H+sn5a5WVUvwb/sO+mUYcly84R1Ts3B+B4TPyTQd41WmIDBoAaVA0zOUt1MCQts6yuUxHAZzpJjsuqAeEK0KUqjNDSjJ3hmz4rzDxiHg/G9knJthzpFF7hndTEECnDoNfv3LKI9b7r/0pZGNdHzgZgZKPO+vElDw/TR6DOgvXIgHGjdmQHsubcTRBU8+5YsqTAnvglscHvCiqQrR0N0woszKmgq/Qbj7R7etniwdrrWaq4g4l+Ocf8OFKd5UzypSEaujrsWVdRQAdYiXozJHi8bLJboBV+Eqz/H6ri3tfk4yWeDuC8vqrEWmkyglnKq+dWwyUvpYwiEzRh1Vq/l+7dvRfLWZOuq6ndErSaNKtjwx0emS95Khz7CG4tcH5XG+yJyXzvz85aotAa2OfmPme6+7hsRs3c4DwGun2X6nUmmuKeisrMj6XKI3ryy+L6dNtZe8nkLj5Y/KeZ0DumoGes1QSChHSPPBn4rqz5Byf8/aVUFGzFMr4sh1uRMZnIAMIRwbPQ+MgYunmlALL6VXEibZXFsvqVBRZn9/Us1lClsJJWSM8G0tFPy2S0QGgMH0cUVPaknqOIdkAvd/irPqtE5IYTcrvkBMq2yabbI1b9QhbzOrdOZeWhraf3q498xR2BRJSgCbICoH52ueK/IjIJ6qaA3d51387KPi1MCsr8DzBut6gnT2u2kTw+z12ALcUS7HYojfRCv+pDS8l2kEkwb63u/5Cxp0A4ghjwOd7Ika+MNElzLhnc7EKtANxgFOpglIDnK9dKVZlV9B9FTuK1Ab8a4KV28d6qunaFZIslDgtsUJmJYXBgJqtco83khOr4wmvdfZDd3RPGaH+nsuN2q2A6/TkBwENCBF4u7vLq90eovmW+z/JwTI/LEQd1FuUWsLAWHtm3ulw9+Nfr2ctlZsSuE8RSdq3+7ZBbVDIUUIBzy+g+RMzMUmwd3ExMTCu7Vj74EEB/Uuo8e/SitQMVL7Dnsl1HAxxPl9wklkrAFwo4Pv9+OV9Q76ij+6mMvXUZnvMGTSqBRtOSdHPDD8Pp/3xaR8ki+P1Xqf3C08fGEQtBH7Ra52usYCsCeW9b9i9Xlfbqjp7dH84wOUSaUmBll6F8bj5HWzq7BCMaNoqQymuhNYPY2LQhsUC+l3Qxow5yZEPnsGIv1Pqxu0KtsFtiAarWM1oo+WcrkcbRtsee/KBaeA7sioaa/6IlN2pQn70+cB5ZXNcvJfuYNDBHLKN8fxB/Pl+FJ009se4OcnUj706a3Ka2yEXDKMJECdywjz9HTUPGtvJpuQOY/0d6WurNusM68pD4IQoc4ncCEYVyu98ZU8r2BzsZsBxLdSw0heiBVXDd+sJcuPg3+q1YieDE0/WpoBHVCQ1U1v4hUon1lMnBXHbSdbgzIem+Km1J5PzDky0FX+YxlO6YrR6BDCoFu4O553kMXaDcb1DycW9Tid7F4Rw90UcysBQrfiH5QVWlVupl6084kvAcyAtnAztMhDpVxd0VWleNw2erz/Bm3/euub7L0epqkt9GrsmPvj4xxLhRFotN5nSPp5W8CA443qr4l+ZhSmVqupllhuojgV6cGhFlNdEAhw1Hwo9Q8B8OKOnB91+ij9ujRYg2/mtK27gL/TmdAKcNjsY9jkxO/lu0vAa/2+HuLazCVfGXhGX2TARKvRoc4cWxVpjouhCU/QvzI3aZg3su/CcxgfGeWXU5YKIsKE6jlaCZfk4voHi4sZx4UMDsMAT0kblGsszQ1D2sopgRK8Sff1oAuOXrQ33JE3zFKJoDhFVtnHmec2yUA2WLSafe4K25xyGSufkeGPbIrs26viKhz+iC9ekhqQ2amr5O7f8Vj9THQ+ndwHZx0LVBJAxvqG4wfvKbvNwNOwh+3kzmzndzZIupJjS2gkT1FSRZLpOqrc+vy/N8aUbuG18MQNLcGeTmpyDCdmziQFbWW5Mspy+pYll+9mH2SmqH63VXNZnESu1gMWxfk5vh4y56hcj15Z2fzzbB1o0MtORc6tQEdT0Jnd/I4CEygEUILv7Bqw6LY/RKjVQBReWuEY4OpKaX57Oxh0762/pPSriVPqbw76P/wdsDGCA3Wz3gfFlosv1HbaFz7EI7csQ1re/u1IpYm23rkB5r6tZhRNmPnDHJBlyfK+h1gEBa3wFEkH7piRTbyg/++Dio8WCtL2ueyjEEl9CHIegZ760lGr7uHSMdqzhorckGpGM9k0whIxZfuSNAQEIzck3aZ0XCy4hRqD/3gRIcszNlHNo8P7Xy4aSJ762oHYyiU4c/IsCvVcc4qSPCRHv/yFON2ywxvmmQH6ekO1RLBg45lilbfXr76pBHqijrXSNdKJrfCRbgSryrQeZKOmUpCa+AaKzKBwwG+CFCy1qp8Znk+Mv4T6PivYk2lRtc0PoSa+tMXKt9OFWRqUUklbHqTOrpk9xUBcrrK+B4zqjYTwgxaQ8PdprDhGDccSYMICuFX4OALyY9o0d+fWEs9ExceVXwZtAyJEqJbYhPq2Usf8m4R2jwKafewY6tnYTaGirKze1nO0jgJLtzOKyPtbJpnN+hhoQT9sI2/ha6R3nOwDyNYJtPqeRU/x62dGiIlqaeY+noXpb4D8/rlBAcYZrcByx04uO8WXxGIxwBxHeUehdYB5MpvwwfXwKbK1c2hIoerIVDpn0ySqd1ezPa7F+uapk+xFne5k03crtLqpGQxykuXIEDa6OWrMuqOY+EvocXc1dXFJOnMWg/G15dcFOj3SJUOXszYSLDty97SS7yqaNKOMnyHQDsDBhGCqQR625n0g6/X3d95B2HfvWbG5//1QDikWhoq2MVQS1h60Nw431CRXfmBEApJFGjVe5cCBye2tX9XE+BYVI28Lqf1E3nn6eQh8H666qqkTLOkwACoWkPMj2F9tiDkfMF4pe+nCkNe+pBKDOvWSnPWRndjeODfjbHqRIw8vq/wUx7Fs8fAu52C78EHOQwX4xULNk67vgnmOVbAMgm+EQFIYCbCsSD8ZM71A3GuAlRm/B7/o9vqZoFtFDusxkrSOw+G8DuJBiiECXDcjJ+3Sp26K6jz42X15WAIwAw8q50VoHb3ytD/nAZezO7SknqB5SEf5TWGsXyK/TC/TlwsnWHEjuEYvU0mwsfwUaOTodP9R1RC4q/xG7erYTT8sc3ULptOwIocnP5DYs6x/xslcIKDnUq+u4f6y+iLWeGozmFYP4CdJQ1jlROkm1IKhQKQ8ZqK5JZ7PxERkRvh88xTJzHv0ZfKQ8YTx3YBy7TTx23HlDWP3zOzvbPuOVnnul3gjS3x5R3CpvFEJ2KTz3d4Ardf6/5BGNSenWn/e0VyXMaKhLPrsEibVm0nq8FN/mded5cs115itcvPqspDeqoh4RXDMYXo9tPszmehu8CjUyoU+rix6q27ddc4hwowIkoWFkNY1xEA4ApjJqigQRMRmA05fx+MIdoygPxzJqFNdCXWkHWCqjKcdELonhpZm2e0YRRxqRDWZmh4NYWOa3L50VJ9sRp8DrV+m1VHnu4V3jtu/VerARLhlEQKF1JlR3cdv/YLrJe/9LpPKcG+ajeQ4U7Z6s/qeljoaIVL9XunGAh0bpEg4tqwohauGZONdsLqiMRxJT0fLtKzrLnkMtvdZsCaUjRF6N2SAQdqLydMxYq+t5lC7tPR5kpJCJLjCiq9PeDObMeppueovadlLgCkTWCm80ipP0Z7JOgxZkrZ3nQZ47cZOPe2YJ+nYfVxLe/PJgNotNrko7JJHB8XuoSY8O0AE688V+aWSSHwshhfkAhP1z1W7O32TUFxJ6mTQG4SwDYZOUWDrjESYyuYGaEE2tACJ5NfW2hlhH3TCCbjv7ejolEh4biQwO2pLtKQnMlENxyFc7IGRheJAOiouGPuHolqCecJYHXlsFXaZ3ZaHlb5aJR+EiEdhuPvlSlu+9u4nOFCgAWzBnFcWMCSiuC7fJyVbw/J9zrrbM8+HW51RN+H04Qaa4+2lPuLOyn2nRfR9PofT9xKh99E2sd4SjPCOv0oeRoi6fIDXj5yuIe3uAHyOTcMm5k8VmIRz9qH8tZkc4/+LMH1CriCVPUv7xW9BPaRgVnMZD70k8zOyvi5W2xWOmUZ3ZGjDPhst2MYJ6QMgo5eJowIMkPkAO1smueInnKSDNI0sKAN5E/llqf8UYzeTAbsBzqD1zgfhd7KkCFQYd792oqRNqUWHwqlraWpDe+CdLMws+ml56sUtz8F7/Ap8WuY7r/ddkLODU4VD0NkDZfGCLhleeU50wlrQ+8VJ8YQqKwLmk/ZRXVBnnDfWIWqN0XxEhjlu6/DWr2u8mOgK3CahEOqhVi76EnVE6EcMEcNJ+lWfLpsIpYV6tbUB1ZkYtCfFHwEnn9YqhJqsGcq/SUuT/PXT6PsP1t6odDnb3FH7gEztjA/dHwY53DJlLIN2+09UVavNH8h3TdqdTdHJm2olp9b0mUGf2ZvUSNbLqY5EokqjJnBuHylA7KbBVkwK84rXcDfr/OQ5zLU90ilgzazGjSwOv7k5GGJBsX9j7s4rG3DxzyVk/riwQE+Ewk/FnnsfIfv84MLeuUYGLxGxg7pQm9toHBzu9G2fAoz87SYF2qSx4/r6r67toPK4yCg3EvSn7yZxLx2DD7s4SFFIQafU4H7G8IlL0sPLxbgaDGPBk83qt1o4xTQdV0UD0tVOtLEAlWN9zLAjDK3VTuGLVUetwLegW5ihrVVbJlKUr9dcCZ8AnBpnAPk6HccgKkrjFmI+OWIaqCyTllVtwSRDVIDQEuNIcj0vCGp1Zhd4NA7RAA7kXbXTzs0KFB7UXAHXztZCzZ6MDUBqVid+fQlE/a5ODkw3sX58ZzvgcuMysYaXdwdzSuzh0AgAjWhdKl5lUiIvCJxTWRzfwmkSEkyclZL1gP+QFgup9dQQZyyD9eP0W47cpkRdPNPwochkEHhac0ni4PMAdyFjhFSaCUUhPmf8UUUWFyGgPfubIFd+7pRrtIAchOQQIC94898Jc+uBeb/bIJj3slOuGO0T8I5ckgPIOJpiva2gYFnLWiXSiwW3X+Y7SfVWZWTh/TwZbiyNJ96hDnujJIaBsgWJ4KcL7y+dKz6GkA2pKiPh1hHVcOn+m/vCMxZwkcH28bPE49r9Fu+ty4DhmXb6nubxuskCtwWIFZc8V1URWgTiX5ktJGAW5qM5HwlId0wPzDLhAqYtwOziidWjOtAxRsZxBSQJyLLBdqBC4J3Tsem0R69xqProQUWRfdFjRYpU2ak1w81+WoxigKbIBZjJLPuxGrlKEV9qzhZkVSnwJCzOdS8bby5X5hZ+L4t+3be4EmYPtbHGo4LF8eh9TqAD8Bq3MMu9PVIAJGDvxhE7/CZwRLS/QYjGmEd+sB8IJyf2sP050ei3VdDs47D06FtIu1wu7lY6DBS1vKEWjrANsmCB72SyqcoJDDLpgYIXZGvErvjZ0SQrEOirpzZV+jdF8b/wuEdEwX2oRLUnAoLQQ8XCHZPnNF8YAV3FiMKUkZ3w+kdoyDdBZQWOq6jwj+J3N/+zsLjZQIL5zK9dz0CVXzv+PWHDlbdEGI73q6Y8zp/b36VJaikd0V/zjUaYKFJVzuzx6x4xBMMsF8O/HYnmlQ8dRt2/5GuQDNpdFzB8QgNm7i5RF6D6d/CKpJiItrkBTjuHF3ftaL3GkSY5z5rM1oPNFEzYWycVmp9NKumCNR4Nn4j9pExLVPKI7m7T0OorIug2/gOGh56ZEWh7E5SE+lVn01mJXH8iCoLPYt+MNNsIk6/7I2xNeleLFDpe4G6GurGaJ/IM+LIEYEfaHl88fZlSFLaQX2pgKwannCxa82ZwRbB9sxakSVAryEzXscmTgnPbfls0S/Lhisuvry38/PZgok93KRZkWmHzTqODKL53PFW6i1Zjs1IcyRo5LLSgMhnBmF21fh9l7KIRp3fyTEw/2qPBNQbmoAvvWbYnBuhypMHlqeruJ1i8+p2LqrGLLcXOcem8wUmkaiWhmPbasPiEgYTeD0M7s7jF6G1w5bZxPfOf7WAutouDE0MI3DmbZ3x5KET6mUgtGjMXqSgeGKPJ1HgUzbzI8dvk8iZiiyZXm+p1llUfzOuyCtS91UahW1eOrtnBMuc3XMGpRN/7zsvJiqn+uE8UyJgluZNwkob/88r/Ht2aWvhq2os5p2ZGEAxuT2S5WK9tYj+wyDKnpX+8XVZVcjyD0n91qqtKl+N3yhd+Vq+qF9nT9APZ7aZlk/yffrYadcJeCtgtC0bfi3DPMfhxCrPWeACyedHrQiqcyY+hfTwlxR0mhE8RP68GK4/CRS3vqNc8YbgQFyh7pkCh32qm/VvQbDznvvnb5RJ4IK7M+6zZZrkJPTyrhF5ExjiLIzD0jWmpAk1E+28nOQ7nbyvwiOlCLqOx2gyhFgWkETkd/Tiy9cIqBNTtEo3AJ/3r3tjBt6KNXb/YuC2m5ZJASE0wMkEUA6v4zLyKnNxf98S91mdXNy/0XVWFGLg2V5nk81PVZTNJ2L4yCy0mkcFzJlZjCOuXOPsllSVdVh8KMleO2hKH4aOjL9T9hpe2nju4179PCxPYfI4e/HHNZe24NCtF+rg1Idk0zSVl776FYRB6mZ4k1PfK4JYuC1soA+2SQMWaZVZ/eiEBkvpHA3F3cxemE1juqYN6QRn4HXIQuYuWMccVU3ZduA5sCeaUKF0SWNLVV6jnJcQ2AiN0vdqur2pFLeIqnqzv9p6rWV2NXt9Ldr2r4idkRWfWVGUW/2IEElKZulGbAJf8WM4bRZx1MgYegyMlJ+zT6MQ4bYcnwPtA4/VNHEkQCZLAN3CJxvr9sj9egbY7uUjaPFhKR7rHOXzzPbJTeNDGazI6M2mSJqpHakS7F3M6ikNVSrRm9YN2sZ47XdpZ5iFTYX0iSxVbRkXtd67OWkC+Q5LNdyiDID+XRHbyn5yL+H2E7zX/KCuvJal5X/e5ypdq8deKIE6wGEM6O7R0bPf2Q89eHvJIMBjUwMTM4v0b+/Bc5uh6klUlkccD2JjYcluML2XKnKkyUerDhUIdeYKLBs9H8vER1LAWzhAwq+EIw8kuQNNrZZgRRp6BlCw1BF47VDA2UopOARToTUjjZQnBZ1U3p+7AjMao5cBxwmeb3WjJ6Tk5TwZTE++eP2dFouF7om81cFTvKzNcEHEAqT752rmqOyMIsf9IrKEU0ovzn9Vma+v+7ks7nKA9n979QP1Y+BaH+/+ZYJs47OR3SC6bo8StImPykaTzKD/Jy++kBcIfSAM9cPAzavcAFK22pprr78dW2AInRia6fP3hkocRVcFVw408cJ60FvhxgWyVozPLZIZ8lk8Wj0Md7nviNdMk7ngdpDxhTdagD63ierHzpO0O+k4r9O8WR9E22b5yIxtoTTzlU03qBeXZuLHev2M0mPAiiO0j8Q8gCCZnShWxPc9PiHEv2J7vb2r95QDeHngKki/p10WWZ4X81I/F3dTp2slDqh4Shvn7CqxPUYTAAZeG4RlAItxkzkCFuVWYkRmPd+K3HSxC4DcYn9BcKVMYYEP8PT58wpPD12LMX5nqE7kD5XoxFJuuYGk80NyY+Sj9kYJfsmL8eqiPpFTNp5Al+jcTR7z3NqQyyYpjr1GaBStgUaE3Zr8YNuCnhSytAEdWh33sTxoFGmPhQttA4BaIf3s+a+LmgtZcsQadSHqpS5o7ZSBpdjFDvNNhFSIlOao6hVAGqyCSIq4mjCPwVoq78gCgh9QSabx1I2WNfWtUsWxpcofbQd8dq/+s866FuAt2nBofRtm3Gfq22aAL1yGs3Rqs8C+U+lMutb8r2etV/cqqHjRh3ByeKHlGHC8jty9O5LJBqa23U3XmbKFB+U/eSGK86QAQu0ZXrBOVyZRmmjE8e2gFbYyr5YnDdHUWPiCZlgcrf+mgXgQbTbUwSoGVPUDbEh0ypXqvLHIxgzykSwngHxEnb4Eg/ilgKgQmAlR57g9AWMj+9Yh6eNTsd64JroR2YRJVIVtISxb4Ef5saoXjPg7iA2JXKRxroudHemZCtIFDsLgLa96Pr1l24HeHQBDKvK3fmb3jQxOacWxjTN2G6VP/ZxaL0qd83GxlfqQDFGP4I35QAmi2TKG545/Y/aaMrIE+YHdL3d33onQ5LUgKlLwOeznjIqmBIJCRTJ8ExPMDlbvgXYgPvWvApACf6t70MOIAtZhYx0iktq92ZseZAXPfMy6fvA2NRGaNMSVxJXry3dt+4hiXPcOOa2+czjsWBLHc+w/YJPG0my0aG4YlaolGrCqh2EZfWwAFyvZ4cjrFHLUCqo3MKIQSe+0LskCLDQ7ZfvlM0ryeC2WbeQeG4RSmPRLSlsK8W22bgCQO0pWwcCCXwR0qGbN1mt91cr9bR4l/+Lgai1XoEKx9ec4xJr0tOVtALSQkxb34sCA+29C3PMdI/claPTpIqTXNhge8IJStvpApFzOsxdd45Ohj+/aWFGGZtDU4+lFkNLUgXxmDjbFWp1iyrxLYQe/wfKmdy9N34Yu/j7l0cGMNnkKIr1XAxz2Ppr6BcAOOuWA9RlrjHnnggxp/qxvWQc7nMCEozuxzpfkWRV8ksatce8FmPSDHlAeUjI/7IhIeggf4ZtvVm5ePZ6BJ3vODyyeB+BG5w4ADcu/Ws9O2CBZ8ro6xcc1NNh7NALcE+uolw/VoTEE+C0Ag/uuSjIT0VY4jGqT9ecr6iLqF3YnR6k7p70Okj+uNO8YBm9wjUbNvZ+QtNqo5lnh8o0u3H/lIRPNJlQ/eD5CMk9sxZOAHrMUnE4iFPFg9miIgIGo3FHh7fjkqDhFdmZXrRZbL9bn0mVHr1HYDQ+Dfc5ya5y7V84iBdwlON4f25atLBLgE4ZH05N7YLaN+mZCnt/vHDfs/u0/N/nnX8IP0aAy6L6GJq/LJdlKiTkjeJbSC0oSwqQPe3TYt7moAsGpzwLlQ/2ic8709UKRrbyTgpnbrR1uiJN/BLXnC7GebdtSklONGaYN7nMRIdsfs9l9KYpd2eNNGWZblMeoE7ZKng/xzk8Haxe88DdkrCm5PTvQvs190pAM9A+P9IkLK5L6sHKhAEjtOpIilflXsF7KIzQrS/iWvG6A9oshvYyebfN+bXWMMKeAftk1B4Keo/QvrqwVdEeUWc/IaBqFaIxYGkVJQsImIsNSx+3SkXXTnVKQMZMAiwd621IvhHdsA5PzhV4uTvrx7btCvCQk5aw8wVX4yLYMtopLJBX12BcjxQVfF77nfJfYYoVO1pFKF5zt9x/n7TJiTYOz6yabuxE5630ntyh9+41HSFMUeOH2Jwi1A/tapcnpKKxLXACyn2pR2hJnt72d64OgeiREXYkwqhEDPqR+3jz4mXbuKYcHk/GYb1n/Qqa6MF+9HmAf5YaCnI4UDkT6RYluOMPnogcMI641YHHtGKo7uvciYBUCTM8V+GI0k0+iJR39SkmpyZRJqAMbx6YCVyP80BCluvvvvsUvDSILkn8wZvN+4HfFkQHQIB8B+tIxa5MO4D51m4sTEkA10AEm4ZeBz6uSqP+i6YMVXqPOR6sS3gM6lSbvOfe/VpzMKF63l3jUhjS0jAXcn1nzDoW7/+HdDJsg1KlqfQj+CoSgNLev35aDFtXXBl/F/jTm2yz+iA+Eu5muEQUXt5ecOyfZEvxNoUnv4wVoEw3Zaq1IKTov5qxNzpDX3UokHUzYMRjK0pr6zyb1k1zayaKgnWWp0pm3spNr0ceHlBGTe276UMR1IJhQJWIKc9cqdn+Gmf1RiAPSQnOXKj5GCD5RZfZ1B496c/W2qBNr+1jEQqQns77kIfUOd8aHNAMYqdkKJZrC4z/+jF5BloLPH4ygdFNpfXnU5LYA7ZKK/rhTPvKvBpMVlFjdMfLKjtWsmn9iLsPePq3JKwfaalQ12zX8xUQEg640D28MjJ3V0i7jCq6OLfrYuLEeuXDlWkzB0ZJIRSNlUzNFjFoQ5YpdRZsZrZW7r3debSXK7HNExL9fodJhnFx+BoHLKTdgEPTYx53NYdpJcl3oUQw090wqCjVT/tSMWMPySxkMMyJg4UBZUs5xEM6uzkMmE6FFUGscjVCp7IoyjiMveOa+sIAgU6ErHF8DNaROLyR3I0Tg6yNS4JaAnPpVtYC/h9XmisbuEHYVEFcvA1G9g5dZrWqoqONLlzEOCi5wm+kw6kcY6acod5ogvBFUkqoW31AdPDnHFPvm5nvD6UZ3T8/KBA9uqU5Fw4F2NyWhiRIzcklqdB4LuOUge/87Pu3nJlGsKA0lFbYvdM7Mdcs1ADBYMLLYYEoBaSfSz/k/UUloT7MSNz+wKdjWJcg0krXGKuGLNw4g4R+UoFutyIBT6a0mdeVj0A7QO97SwWxdMFeCrTviBMhusj1p3h7DBXkb9iDALxUM5joelsKeKsfu0GmqMDaKkwjjjpG91zIFuo5R78UohaO9ymVU/icNcVo9mikjjV0VdBXZYEaJTeJKca77yV8gXdXiy2hN2Pk3olCGcqN+MicpyC7SL3obLoiykKC3AJU8VvaUv1S/rlwhdHml/Qs5mvhWapmkia336qLBgCnrFnXzTArgZn2BVA95/Cxv/WJpFx/kI6mjsiELvndKvWPQNzaMq9nebweweLeO4l9hRpfFobzeALjFZwuN68lRgRvtkPXi5+EjXAIP4JeZbYmhBdnqZOj4q50N6Gni1RWPui9N+rXvT4MYELhExVbCKc9jb1Dp80reksRr1n81U1R89D5vFotJ2Ki39AvY9U4vLSxRlf1+bnxgmjQfBmJaQREueJj2xyQqSyYMosnW7eTUAMZo+5HdQeHurpfueuFOqw6Flqw+s/eOFTSTPbIE0k0gH04XbXA7ZtjT+l9rnfK35dGyTJp1n6xSNN6tSIFyezXj+VASpZCl9tzqDjDNIjgyvBnWJ90BaeVIjmmRYJu8DNAk+4S8Jn7AEUj61xgQGPCKRtO+GZwX7s2Ns9BFzekYOkHvZd9hbpRm7481/Ggn8WnF4yjuP00oX/nAqSSm0tb2fh0Xfg3Obqdc7b4LQYBsVf9eVGtQ1yJXPHRgD5Kj+Zp7P/+golIrvGvjIL3NBQrMjMWI7PZM0J+v+owL73wxAxldDFWRaioz6nTNQ0V0mfvuKlk8NEg+fiRsPltexWwZhQlnQQQYxDQFFwYXkwfCTPUyw13tJK+N/1xA+ezFL1L/n77709707dJqIXKhFd/Hnsl07RxxGBT6ZUZ4I9CvcVnVq3Zh9e/LZn4QYePgrjQWfyFGtfhABeZGCfVD744pTiecWr1GMk28mqC6/7xJ1uR26zvulasLHSEOBHDApbz6/69iEfoFu050RXd8fqhUvk5/rJunEjBe4P9r7gJGqOiTUi3Q7OLL65NgIFt9XtMyapCukZpuXglNMyZAGrMHeUgqXAJIKo60LWXES5C6bCQgQHx4y6GQw7jIhkos12uwvHL44r8p7FGm4zzPa+ygPStheN752HAEyGJs+biGx23XiPgrSP4M0IyxWnJhedUPlO21e2Zj0/zvkChnhv6CLhgSZoRM47WqLfvHrduWqrsT0HM12hgyZshNxfUio7Fly+XwZgT61/V8u4RYKxPPVFTeKyUkemwFa60+csaB5soFhZcFz9ZWr76Xm+cWMwVYweaxJiJJoAEyDgHrb66JqZXTIsPT3VAoGgtMiGnDkZzZTaTE/kty3CeeoAw4My/n72ne78jXBk3Axq3Ff8ncThpwhL5MlMDTsLM9iBBya9+vSmk//eY3dmSp6ny/HfmxnqC7hu9ULwREqBaZW0/NHuyzU41YC9iy0qToMHm8eJ3SHXBVhNViN0zCM3h3eB7ISCg7yzXKVmrlV6zXjFD/AMpXO9t31xSn1kQuvMUJ4pxsiSC9bL6qUoYNxeT465aonGsNYNkdBxtaSaSy2q5U8via6Nk9gVb1KTlL4atjXw1I5YXrbpDwSPW3w8ghvCULVXSySIiM4A7RuCL5ZRbCD1zfeFCpA2dIrzfbxFtci1ANK5jzozxhVY5+llBhXMoEgSlv9LD5irswHgxaQAxWXXF827aRgYvATy4Qgs4GeS9fe7hzfTqJ1XUy5hpESvMJ3SsysnaqUPCxnSTswwa4MRcBU7FW2xAx6IU/uXWvUgbZM1gpk8o4qPNN+Ajcmc2VzhZVMeXzvHGIbkZSfA20T/lUY6fqD+DdJ21EhcSm1yPTGR7CkLs643knZUebGRLKt+QFJx+glS5Qls8xaClurLshwB3XLo3uXR2o3Pru/E4cRoSc8YYKW9malyeF6gU/oI9Sr03P1ph0PIDFOczcQz2D8XlxoPfRTip/nVvaujHC7R61wUJQsbOjvQ08s374rHpFjBBmvmuu76ivef8oJfOZ0cRjqRiPt5nnKYYBTvDj0dentencdEbqJmlZEey23ke6vbepj9V/lzsN9vqgZLtbb/yFa1wS/sKp7MVT0zYE/mAFguJGfy6uKlhcW8tAo4GPQ2zH69Opy+3WHIrrgABEXohP3nZdWaJT/PUzYp/mKnU452zvohc/+4F1uwEvdbYVqXRCXY6KbgWoem0chKSArIc3pDYKb6u+l8f4lG2AHHGWutygxm1lS1VAQ6MPFXCsMxVg278fIGOQAO4Ufp5iF9I1jgo2k+jgBAR3tFF7W/FpBEuzsVhjqzmcDn4xfgOi8GpAwYFV6T7Re98XIPTm5q/BHypgO4t0c7fSCliBZlHJOIERCZIxrHyTRlJEr/oVWRcyt53WgaXjYnMekbH3Zz0jN7ImNfWeWvozyZ3DPZjzd6zqs+kBpem4UVktaVbEHduX0Rqv5BdgdCKxAYDzCOgZuPlh7PotKoo9sDsLTgsVItWiHlgZo+SdMFFRRSjOATcyQdfotfhLqttQ18CuwuKWIe0pjgznWWzjBIaqV4gJNh8tpWPpEXtWTVUf/LQk/97hSFEJooxAE9pqVC4naMG8symI8KNDoRYsjVTIiqupsadk1Qw7NrYuNYHvhbPRdZ5PqgqJMM7qgOGyndR9yFB7llFraCQ5EQvSFAPmFDwQ+0zu6YRe8k96BW6c/FEpLLaoWTQU9KeVi6Ex7YZ5/JgD8SZS03wxBc09w22EPR1apKooLJhg5qTSOy/Dh49e577f86KGfQ2l9ULuxRwFJzaA3dyr378AF5ErYFzTBtmKUEUqyvlH2J2FP8a76F5TlUxQ/VvtTVPOe9MBbQb+iG5S7Bq32+/t9ZVuLVbFPv7/tTfxFQetxk1robb62ObcXeStOEBcjEwPZXLCWdRsEH6ez9vP58WRaChae4leFdKFdSguUORGpEwf/GWw5700lC78mGZgIMJUFJ7LaThiFfAhZRLjuWBhz2NkgzL172DhqRRJk1mRDloi3eUs+eNuoTVFeP3gc+/nojJ2TtY8rMSGgqpTQYlzxc9u+u20/VBQfJVKwMhkkom9gsGhS2gLET6joGSIUvkTD0N14USjiHwTQXtgy2zUiV7qnZD4igHV4IBzLoVzOQFrgCBI/81xzJ3W6zLpFv39DzltL4Mx3rJcM4KsIPGSJHP5FZnQL3+t+p/UtruM6QWbWiLt48/JUf7mBijXWun6B9kx5jj1lDMCJF"/>
  <p:tag name="MEKKOXMLTAGS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r0lg9IPP9y8umrse/9AoLT5R0GKq+XM9pr/aTyOTf0wptcuHbHxeyqBm9svU01qeeEM1v0hpSHUgirOnAK/wuhje5yuh4ZqNikExboSMu2t9eRhvurDVCL4zCOlXmOhfySdMYAjEtdKJ8Tg6e33yyZuf2q73SsT43T8SnTqvhgTqqLwO1iVWnDUKzeoKS7uvrOY6CasanrYrWmR33Fc6dhc2FseHTJN3e4p1kof9PsayLpvhQXDONL877vrO8vddkeZ7IjqbSsJhlb1T1ZLdnWC59nYVaFjTD6/AgUuBQvChB4moLQpVx9O/x5OsjueGvETibYGpy/b82MBqNPERe9/vORt1E0aL4AVJhXJZFAUE1GflQ2yz5dckVYaJhGSfmmh/pcmqAehPfcdiwbQCYER9widXCCOXrBqTKWf9irmLACbeN9j7R5fXPVS76qLi7ks4H+SQPiFRwPi9llfPgHMsRZpAnH8TQYH1jFDbm2+QGXPynpo8MO51QnFIzM/czLZaXu9QhoZj3A5z3MViaioN71LuIGiHeIURMQjAQZZGGKvq+H+hOBogPhYaIo2QbolwIznYjy4boWn/yuavdrqFRTUCB15KQP2KQiZhdepR+UOpb4tZySpKqCaP5lPlXbXkvHPWEGPoTLsf8SntS9nPxg7Osgp0Zi2JxTZBw5QxRmD8XfXT47PntitSbCkuTOPpDIjieolvoGBW4MF3MhVL8q9UQYTGd0Zw5MgUhO56qBGKccuIzPYu+ODruxDb6mgqfttM/LS/bcy3thBy8WItzVeez5EbstNjE17kcZbK2zZKGlR0E1OunZyFBHJYVK/8WysJHgfae6q7kpLIgSUYpr1lj7lUturLNLJPQZT6gijR8b9vZ6DpCHhdQufyfWKkZndrzP5bMv0O8Fkg5HNi7Yk9Q3tu0Han6iztSbKiXTAYkcAueul4fjgwGEDphTBtaMTv5NbgWmIdEmr9BLERj8ah6C57Ulg+hZGlH8H2exbZOhBgVZa4u2OqnIe3lJOI5Kyyn46ZLEoBB1WOtCqY4d3HL2A1kttvcMBxaSYIhZvswh+dP2hopE33qV72dxT7JxlAPcgTFgkoDPzl2FWLNpF2E3/n0Z9N8dlS0WIoyzgs0VRS6Ng6RtL7AT/IE9iJF+QoYaEosEKUvC/jAWuX5jxkPLV/p52xX95FT6PufTay4WDhVhFIzDKPYLf+KF7xbtOOneD9tE1zN7ZnT4ra2CU9TxA9NMkwpFZz2A1wGWa8PoHJOWyhLpib9D5NVK6eEhSjY/l7GBTeSEbxs/7ij2Ubum5X2MYodsADN4OSEQnLcDaFqJUtK0iDhWxiEtm4HLWfYCcFNw9UThmYvpPwNdP0j+tq4SH7mgIsQpgJTxwQjRq4y1BL8X8Hnqn7fJe42yC8Ol2dk8mfwoyvxO8z/zBjoC/W9UMKtowyFDY729+rPmiekbuBpKpfIqnP08aGiFJWYgEeWS/FQuvBy2MYZEUNGWm+i5GOUEoXN8C3bqw381gFTNVl41pUclwYVnZleSiBSTNu1J8VVD6Jn0brf8VTGCuWmy1gyJxCaBL+eYlcoIGPR7apHtekoa2pXZ85q8i9OygD02H+8/oOluskWG5afQ2aP6sTMSHm+7CLclhJYwECBpTrCCwQFKKcc6xsoafn611nNUWa9rJqifVrAIIZeYU9LQ46enX68Qs8vx7vu/Jv2tuZ1T8OIiPe8FBv5YZig1NqcbQOoQ41vL7FLY82z8GadxSFrn5ul9l7D5vMSYudC59JGCk38VqFGkFKWQiRGAYIX5tCrPcwjJT0+M2kZyP1w35+2PleH5sT+AhagOXW3/YLkI5yp2OB2OqooNU9Fz7z44KMQ4Ls1phXR7TbHprbq3SkBcR2NWQAYIf4etoG6RftLcWN/ITO5L+an20SNgzzrk5aKq7PVKPL+b2yqeiZ7nzz2jMMfF3MQdhrTTG2NEcyMByEHH6byUTZFamVf7wDDLv1bRDE4mVOv2xbn7SayhoIsPMgpTRfrS/UjLEA5ZFts3JLNjdF/oAWVv3XHSM8P16uA6kp0ENAWVWz+vXGrCnBH3eDPmNBCBhJzCb75qkNmcF4+F8Q2Fe/OpP5+YyhoYxTEz43FDVjNNQmrtfuEd3XQVu2VWVEdjXf64yD3wbUzQ7LzYFkUc6d7cF2Dl2EPprXLZFOHH+mwN13/Jn95Oa8qaLuiZJcKHblan4NVIW4C2Kqy6++9Aptpw/kzkOUD2kiNts8iAjnea9fwabypZ1wrrKCYB4hlJOD64uw9hQd1msro2dnVBZxqo+xJ1tMhvbQIHnK2REK50bpxSemCtdUGE49/yrC0h9xlLhEij8dB/5rNGFos4Zvvcg9zhKDZLiFWS2giI5moiNUbqinMEGT4eUL3zg+reNdsiriSpsIVWnau+RAyDCae/zQOVj4fk670Y9P0zeWrnKZFuCaiHtImcj9qNulIegCI2MWDp41Nz2p3VVrffDRgHbnHxCnEVfb6RrPJxSLcxsu8S7VowY5saudrWCu8J7/VfRE9MiCysRstlOdOkuFeN6pmlUdD8MLDs3FV9pW1aoH6SYG/tgdM8XD1nZWlnsgq2+y9JxiepPvB/OHt2DohSvF2UNSwE0tJmlCDz39lyw8T7eh261Osg7rcjq3vsrFhzA59bxeQOVB/KdaKE4lzVLkX42ctlpmsyLIIqi+4z1I8KGYi0ciTJ5m8DPwczAF4VJzR45q3efrpm/uO5VCCaDZ9sFSJsN7gBWCqRlnNnWKZtcMkTIfAIVg94OnU5sDfRqtvnmuFOZDWpErV38jphc/2hG01oXTGaoowCD5PMGP2pDtXjbfHgbH4XwUrOnqREdlYs+GgP5Dc0Ws5mBk414NU8jhwRhGMGz4CO/xpZnJyfaXyKE4NkkDF34QQCbHD/h+8SEVMCWudC68ifIa1edSkoauzbgQ0fWxEB4HyoyMCib43Rtruyzv2og+3q2ln/b0hMlOQ/fm/zaAmLWeL6zq2Wat+FmKdBszicGZ/HQbNMknJIc/fryChINIT0fPT3JSRIOwY+KGwm8HA9Y/T3gWyKd/jsiyBs1f0Rbw0YKN+WzIjgmGfIUqOzXZTM1We+w2R7rq+K8BxPd1KukNWJ+F3t2xouHmWr/Gv2+wrzg2PsoSVYeGPeu2Bogfgn7y4pHw34DgeT+7SnHYLrFbWc7S5ybuJ/cDl2Tnrm/5NQL6LJ510GyHpu4F55gKiHF5keWUZrKY9Ave6flvjXGAYb/+KhKhqXAtdI576LtaNAqtJKtUbyDWhTtHT2rxj6CW6p4idv64R+YX1Ww1buGKxdTNVFxfR//yw0gL+fgU2jf6jHvRMG1ttXkdNWvbS/H4hd+ojCTIcndcbZ60mnzPDwo2m94AAxrMsROMZCwaisFtfDrG5vw4HdE4NcYlxZCTbMTW99LwVlKi/g23s35WKhLMiRpL67/a76I/W0N3u5eJrWVAnumI6rNOZlMNo1y1/avlwvoyR70Dl3abOqZKMdBnrbiY60n9N8Parh19Pl636aHeLrd/96HoOQmYYM5WtLqUPEjmHE4mUo9TqnQ7cfK8XaYJX6z1ThsKYjw2btesjt/+bcI3ZkrW5M8c2USida9GIX4PYPLpAyZHbplb7jhjw42eYHSel7Pe4i1Z4ng/t5sVRxVXdJRd0/qjGQ5ghOhsJvVBReXWOBchajW9vhSO/6uZ+1SrRGhq4vfTwNwo/JP+2T6Pk5IE0k6heMu0tDcS174RWw4NH88ML5nNz5jJ/A1r7FHjnVpTis9osjqLYd/lyjF7fLu07mr0k5/LE8zGYGXY23bE0WAXSEO+8YFy5l48doOqq76uQdL0OJ2bXxkDBJNIq+T7p8l1XFeygC9NnUH6VeDdkUGuZLbncq4RxrSfCfw9COhoFM6f0aaxts1Cjno8wlzibWYY+aSOcqVPToATIYdXYp5UloALaTSkAB+rbwhbM9E2mpEvmOFPpcpBq1cUA7auKM9LeHAjSSDwN9GCnWZvlGTOcqOfpJowzuzSvMnHQDT8smZa4QU+46D8LneMb47gBTZpYR/nSKle5JTd7fvf1MjyAw6zcnrxdhgOni5C1N7BsDyMrcsDQLQbOFFPT7zW8heDtFb32KAtTSB/ujsnfBP8n3gQMoKbqazz3jJY9fKztMjwEyo0YDMidBh5bUu/sRjF/Mdh9GcIEuSXYrciYYAbttfgRvD0jIRwbeHYdo/+3ncpwhjN1re35EMYELt6rS1mb/9d/AdMHYllZ9uGVFqxAVtUhAZ+cHORrZ3iWImbZk7CybM0ypiZGgwdhSWoj7rnZZQtP7pHl3qP0/Vd3QvDIe3aODNAyQFgMozHUQS4SFMl406ms5L+FdRj/9uGgMYeRAUTt2J4mlWNlG7nzsrpPkF9UBLqlTxI97PtGD/iSyYAQHePJojl65d7YoG1NKNfGSpRWVwyjbeRl6axrG98teMy6J8JTmAiHXNyQmEPI4wp36B8+9OyFwsPyi+QpZxQBLCbj/8IL7l+YBeR4R29Sn+W4HePz7UDAr7qcmHmLw4m6jIzKp16ap/wPI7qpQ1Db3+U/Zdtgh9CyLwGqtDkEocHZsO4ppbSjK1Im7pQS5QSeNuW2S7qsS+sj1c+rhl71I7vM9f5Bwuk+TPdHAkPGOyqDraYE2TgZHzqf7iZOSUf8d/t9L4q+q/daVaaPIKG5gqAZWGlsGYfhPgbXe1Og3DW5z+ei3TOs46lJKFIK9lXpCZqhkE6GNFEn09A49c3zk9O/O/g/+YBW8dWV02UbnRw4zoTE/HEcQleg2Sy3bdpCRCG3K7ByT+CzzLCrb3ee95E0WC1g1pnzloV/+2WHedJ0KbBfA7XOGRKBQTBWVsgXth/1iWahUqKAdOZiyueLptKYKD97SOt7zwwcgU1USypEpsprTfziiT75fqpzeyt2yyOefBBpiYTpOCEWzYDP3bxeJ6dnsLrudbsOeCMTsCFvQfDEuN6EFrq16+QQ5q0MN1Q8K/+PZCA3c/tVeTouU2PkoNg8n4Unpx7SE+fpsQ7HNr/Ec3Gj0mLTshYXmwuqtEihGuQdVFzkAM7oihYvept32/sNu4TA6YItD5O8RdZNNZ+WUqRDp9mqsQxmYfzxol5jAPcBCJmHthpuoG8W3oGarsE1SfRn43dLlf0EvWHAc48OAzMVccawxyPrVP0hSmu0uIvf5h4iKAaE11D48alLPlD5Ftc+AemcS5uwGxq9kUMLNsqAGzBS/7RhSc7xCdxo8RXdSYx0aUzWoUPD4gzGVhbC3RPJCtYefxrfMUcxifZd8oSCxbrShgWZSkRp1IQAVyFt7bkICSLk/5uOsHx5kStHV/hku4jG8R4D7NUUB4UnD7/re+pAiBYk2w+bsG4wyZ1fNpHLuOjqV/lZv2iOy54MoETah+kBfuQzfQjew8a6zMnMdW/c0vz+xLE90E/fj7Cky+qAz1TLt92dlUTPR/d+vpIpEMd6IOPz+gRV3LDog4Kfy6TMYKxZYQn9iji3L1s8F1jRxsuFvZaCbZ26bJLSKK9AOog4HtVkwIEa9Dxf1XtPJ27XyoqpTory0ImtnlrGDXfI81/c+LfVHyzoWZO+ZYC3mz60k8+51OVo+xuALMtN+v2CuTcLbZ3pDQlj4k/nILDN2hGeoPO+t+PsXrYpOzhfxQ+EZa+9Oog0ijeXIotqhzIY2b4ZvCXM2Q7tHYmyxaSzDobjgQIwIF7EiBn0RIYpNFzO3rg4umvpZKZRJYwjCQzgOzR/gojCkVM/Lud/n5UdZqcpx1Kx3m5LN7WfMEwhdpSK5HNoax/tm0K/69SAv4TskKIGFiP9io3edOAKQjdILST/VsHntOYCAfvSG/lguwMLlSALjFBdJdA/6trBthrlD5vJ/Fafo7GGUykTim2Jb8uZQLuDwUR50eUpmU53qRzhePzgHUhHiUYXtZjiVl5f4VmIXm1ibWQ3H570Py6NhEwGDGMrQ5biP81p6J9ujVggA8UjBanYp9WnrhftCUkUQ5PtjfXKlSrrLkuOUntn81mmHaX22T0FQFHKWURFEKhjTGPZHtZwZb3YnRkI/oBVOtg6xKq30WpLjCeabnejbkpGW88VAA7dI6F/5/EUBb84MEBfsVxEfG4PHcytfLvQwIZ0WcHC1n5fxLxgJGEj9rhzG3f1r3N/TgU4mPAUzmUDjTcwFbH4kcSpYJD1b8ZHVRVwSeD9T57zPKRy1UuTGGkygZydTHXLdvSmohVLNaF7jn9l72YWeOeODeZK1RZUfD4zFe6QhpY3qwAlzfhi6B4vy/r1uZkPOm+U7FEppPKx8Kgvc0J+1Bop72Nkx/4FoafB1UHme7YjBCBSB9IVvVCAP8Lx0IDAxTsG3wJHKzzuWlXsGScl2L8EHqmpjjfvhcL5QtNiib6e/Ewco/vu/RzQYWVuoqdCSwaEXiqz2+N9vHQwGlpGCcVBmm88wEQRNiy90NbsyTb43vmMtmK8uBtz+Bb2cGX1JEGBkvnmSXUxKkOQzs8uzwl0aXtTCZwt+7lQ0Oax81Xxvmb59Gs65PGtUraMLd3CeCb3JLD7elo+WgoW02KUM/1EtMh1RD3xV2bz5aoRYR+i64orVIYwIt8gpnPVG7ME071AxcsaJwi7DX8f1qBQ0aHF33bSSBtnVHjYC87u5AFt0mOehjKnpzJvd3olVtYIgc3je2CuexPTHGZjnWMqc88arxKWVLmd6Wm3KXxIGC+3yDHzAJ3tuKI72WMobMtPUiw4KaA8Phj2w5joSaaehJXfx08kQ3sfRjWjhUVMWmVH0GObqOism4hC/Trv5w1upud5rBHzj0Zegd1I2qRC/irNm9umRbqPt0M/WCPGizL2api9QGqRmYCUI+eIO8B0ECpnXZiPTuRId12oxTyx0Tw7I1rrixlO7MUfT+o2rSN/TmFZVl7WhnOAM5QKtN0FxbZVPS2G15uFAR9G0yvlO1asAhw4U28h0vBAG8S2jnQ27a3DRsqFDdz5pTwtpDY0EEv9UIKILDfUzFni+LAXO66yr/3Ho4oV8s1/aAAsmT91WA/YIlFu2PURvYzuZ/1z7Vg2G9qDjySZyqPqOQE1xwKe55RVRXP/MzlDY1dGoj74Vwr4OOG2HGVyRCG1Z5CmgOq24fEBsjw0fKjHDeo32qBEqNcQVFcpMG1n2h+pR9JyXZTxWDFa4IWnIUpb7delOCANQOMKbVPJSKOLNX/IfKtf5ZrLnRuE3UbRt7V7I1FsQBFgE2AVCxQWMRXX/QLhG0TsjMPe6hFYSH8cEqhPvnOEEKh+gzpqU9CqaTD3bZT5/oqzwYyehOx5CXUjI0afG6rDEIEpCqPkuvbXYk9Di/hbfuSh2XjqnjpflBz22BeHAWQvwmXNZIHA6hFIGhzlZ6vykAd2F/cvW9k5THANqyYYa2HJdxDHdioTOXswJJwg1CixXbmM6P5sESwrdv6YN7/7YC3OvL9HS5Rn2MkgoEAGbMGssJxjmbX3bfq1OQPWl001XSgMo/SyQuu1s6KBv3fU9JRJlHICvY0ZBZYM9lPZJSmCJwHdLMy8OplPYKjWpzYkdWmsAoldgpsQ9HpkF9B/R1QZZrwqqilWJMRGb4sFDjgIAkn+FpzkGHFtUQcp7JuBHau7fIzCx0/9MiKdHHdCAulI+g5BPYxAtyr48bNUhini0ENEH74UaHX/Nw71nMpPU3w3fDoGsRiTyte8iLX5+MvAVZvoo6T9zv4xQ8shAEj0wpfOlNqHh8oLrwtR/yBgGMI51DaBFOS8BTuLTjJbOlONasd6sN5bfw3Jq3DNpdnZTSY2t+rOPHfBIacq941AhXNtdnd0ySlD78aQT6oZ5Z5enXVQaB6DgT+h2ml/Wpjf/mt7gPMQFIYeNq84B3qFbiZg26hKXM1ErsiafxUsmt2rQ0x5JWDRFJD6zNgeqqA2TDmgKzSXUXic3xt571+MLSdiZowDkC/gI/LfFBCSYHzY9diX5oEnP24Ny+ef/6A3U62Af6ht55OnJLHBeklEqpgz370+39AX03FGXLbcHZv078QvMGIn0UBoXfy3Zcd+5AcVg0wF+tnQ3F3Si91HkTvvfg0B7B1n8LQ9Bg/uG96dypitJcFhkh44JPWgY+5D2X+mO2+KZ0JMo3+knYnT9hf7XJzYo6vOUt30STjECBPwVd3O+Je96JgJAFeb6NmvoySmLMryKv+5hgbu9kJKCuOhOTArbSaQfNt9AOdpCjHxO4Zy7gvJwy29MlOVWmFcW8rwLcWNhStHZxaqyJoxORgRRKdTiQRKL0Vn0DLOSCq8Kgf64ZuL0ppLWH7nY43o21+FNC8S5+aitUWxI1OX+LzlwdxSnCjMSJOM3bA8pYGUN/rHhxzcpsv7u98gF5vllqmWT+ZC+hUH7Kasfes/3igQLwaPul1PzySpdvtRut/ElFcp3vb/yLGhOx7QG80bx36sObHg+gUnuM8Odv3PvMS/YFEI8AIcs3z/JgG9Gevf86aBhbbMGjGyOXMC3kL0NcHQktvLd5gnxhu9g2Zo3o6160r5T1GSWNuyfZsbla6gZGuCktAUwO2XLzMUsk10lILzOob3ONvlS2Mf3n6Gqro36nZ9ZV+uX+Zmm0wO1NfqM45H5+MGIcK5UFkWKB5TKYtgwWxIUyYMd7cLa9fpcMAdUMd58y70yypwVwzoRGOBmQGVgoiqbhI4SiszGwIVNAqbtjV04ZBDwAPZX0hMbprJWrQeODf+49GAZG0qfvAdcjvh05bGXWLsqqkVzvdMtPLQrIKvVDxptMRLqzlYv5Q7LC0+g360va15GjMbi7n20WXxelWLnOAP5wFhGI6H1Q8UyC9rqJUyQ5UGuJYdghTJ0+ahShAhztzpDm+MBXps+tX1munBnKBl2q1QzXrCgmQfciOlEw7/531kPi4monGGYn0umRxQO9MqL8uvQZjxKYycb+0r2kZtsDEPsGWyVKrlGHccKMK4YhbcO5vx4picKK6far0XACg+7fA1xSUF3JudhHzz9Um8Iid39fa6NCqIv3MdRzeIBRPManHevsmt12MFSU/K/WliByxzp2nk4fpA9qFytDGO3r7TYvGamwvTiE5Qr26156h+imFwGZMt1+uxTy7pBAYOwymyQnMuwlv9tMC4dV5udMp3HA9BhiVp4XvkhgmiMBdHL6eqvytjfs+lD0yxwW1To2viP/rVehmz2RC0+Tvz/QvErUUYg4xYScbqdgPgctDF40FLTo2Ci/TIXnj/zKZ7Fxjmhr27mTi4gNlrybFiifakrQfz0TSHr4e/fjkng7BxpjBePXkfAhQEoPtVUq2aPBCgh07JRwWW4AkP/J3wO6AUsnosdOgaMUdm6ELYIEXP7TH4ZfCe1bH2sI/vrGKLRdLLAjYXcjy8W7vPfPwdEbBWjdfQzeuTpcz4JVgq+D1dsu7tsgVWNR/0m2nptSLxpfYzB6wUGue/Ml5tddZtMVkkzbiufA70jl+WXN+bZVvFDIZQqnTaM8hRX4IhH+fu52cxiiY9GCCilWHgc2kEsxxt/tLVG30qY3yTAxBEl7rE1PlGwE2UcebyldGltVj5HtmLLSsL/6zGjok3+vFe4bUiYBUzucavKqUUiMXY7YCvS//LSiSgSv/tWqB3GIeKeLTHWsbbc3NBkEW9uo3cT66iKk1tefnifYZsaeX63GAd9Mjf8MmLy+kMj9ONQRDNFLcLgwnHBmVt1TEKXPSdkPP/lYynVoIWVu5nv77dVCgSwVrCHL9j9pACfGrljGAt21fE7QTR2iKeL2l6F5chj7QwKHKX7aI6IESgvaXt+BUzoOYlcUuyapHEahpuOb1Lf3rKuEUMgetoWW+VARBOKpwCR6xP2OQQSNAgUFlxB2Ypbgh+d+4UFgVzrumnxCXQbTX/6Awq0RFLOyjyn6K7n4RgjdcWzGDNviY9NrMNb++KisBRWuhBvxQLNptIIFg5sVn8yWpiUMKbjZKtrh5BDgrq9ze1mtzPec/xNn3dozTbR2i5O6biRRsakRcdKPAW7GPDBOW8bBXicwu8yAhmTrhzhZP9yd0zz9UBzdVpYflamz8PCkkZbHyJuhBXvbdxnXmniIj6ALzt3VRv/kJNK3rrKFC7mUugBtan59nBhJypLHehh24+ZGqIOaLQcQiBpoRbItWnoHr9mI9r7j6bq2rHhuyw4JEQtqWyzBdp+T01tSPsRDt9cwP3zmWD+2wOoiLx0mL5ngOfu6LCtACiBoz1dXUCbwLgubHWxSsW5JeZIkudthdq+XOCTDZWdApQN1afW1pfQi7veGt5K039+8oPPv7Hy4xgyEEWNBrW2lHIRGqDCQoeSYGQEdOj0y7j5EqwL0bFUVY4pJjlVSwdA8sWVVBx4mRukIJ/rnRrNraTekrCgnfxFecVMQ2PAQ75eKLAThvoQGzRQPEXCkNMKjIlYH3WxqNvFf0Ze8AmaR3Ea1Gb+TJgLWXyvxi9tuPq3YiFUX71LCn8gMIzCUVDicuZcEwqHQxfYN7KZ8E8geucAGqZfhAG59d7yA7HsMeE8d5rqw4HJwjJ48ZuMgRsB5mSkj5PgFuvIJnPOVNTe3/vMMapOJnZmEuNkiRXtHc+zpmfIG9v2hvegq6eGNUtvBJZpXk4c12qcdXYalivXVlgjXiT7uYTV9LrbryKg8BhWV1swwRPOsd6ihfgd2csat776kZJp+Xrkl6wWzkH2S53szf8+v4u/OgQnxeGMIiLVN0G88zaCAJV10j83uDO6qFprjdEyPgdYRwfQCjz/fEV3eiBPWbK8wsjnHkhHYwa0iVqUkfUAqyaekpwGdEpEH7NWgHsvMUJRKkfGscN1kac+3Yo2XsZAERAB39lVqhUYkRmXp8xmZX72ETSTlJD+ntjBy6dsel+F5UQXACbjnSNYnV1KNhRYIn11Gh18gGgKvkN9aAGttXlJ+mbjinIQN6BiaaQHaBivlCEcg+h4GBO4d8xfESuSYJNoFLdLMoJL3qbDTXl4dBpfyc/aFy0ayYMzL61BnZkZW0PzBA01DmjAb/Lu0/uFyZ4D76+w5V06v25XUL3+yWhGIjXOrAa7Mb5PjbkfiJBtMxmM4Dt/CEu7NvFge8JO1TslHQKCMPj/JzxK52mOba99AW1CrDcCC8kywH9+lwz1ae8C9Oph89ApiIatJWnNXm0CRt/uGXArP528l08f0QTx+sMmQxBliGwOu6HE7xrXmvi2FDNxPPHdOvbvzndAPjYK89oZ7lYfAIBfyjwJVQLgemlCL/kFoF7r1lb3eFrcKDNTj51DXhWoz3pPzwJDrWguNXQ2ed9NUA67k2VFZWddwhLTYY4nmu7nau+DZmqHxWsYPTOF1rzByAZXHhwSFwEgzNSaSrxUZWVVBSZtWcI/L4qKBtO/h0UdmJaxNLO/a1TL4vexT2vI7/3tcoQaZsaGorePMgLDrFt9K1A4mFacdGvfPFOpikTHocu1HzDuJuCYELnaYYXKdqTP6sC7hcee6y1Ivbv89fhcAikXIoyUTBX6tTDJbDGsX9R4H5gsTukgd5hNy2Hiul1vc5qYJDA6hDyfuzJ41Wx5Mc+D0Gk9re48KYH8Hw/gB+2ntTP4z0RtpLCgNafrEjLpoSESXUGLyn8yB3ITKWnejtj/WEvT/de9OIKhwDJMg/Pcv7izl+gwbA0UTCu0y2mZWgSSEGxdn/zEOgda1YDLDpINGW1s5dfN9/kEtL1KIYcyCobpQXe0QnSmC0CW8FAMs2sVsEsWkWlGMIHguUluNLIdJ2qmghbmxXIbW4hf2RqLOPiZoMrz0ltobuXkVg5NAOKCgMFQuh4z6kXPyJIWcuCYE7BMaaaHnlVvDGkV3GHfo5s9rPV41GoVjd2jSL8C6DuRWNd+GFkIcMVMVhNxZuZSJ3pva9huxmIDaLEC3sk3WScwNfh1hLKFfrh2tw16M7GT0I4mhrwNZCvQyrSorBOac66acW31bOFYjAViIwjy6YxB+JgJuf2QyzhMx9OAVWsHKvuVjR5in8opDbVczVLJbEYf0aFHi6Wx4CTImMgT7comO49QZswZpvUP/sGpClKn+VQC9WLpDuL0VKHLPBFX9QO+iqV0qZFJph4dQGP7qAf2zBBK3RVO30F3Q1NPL7t8WGLQ+iumOx3+7yat6/eSzic+6NvLo9k8Q8kBwicCpgjypGNkvu+Y/HI1Ec2MxMlULPxW1hV5slUfB8hhasZFbowHJ93AZyJIF0TjZNOodh+EYbpCFMGSpy7bcViOCa+NG8COKPlCk6Tbrgbo52skptGGa05PxWsQinsSy09EKw8MihSmOvmfZhycv4cmbN34BsUtZkvMKsaJZY0mnnbi73q7QrUmIa0yX/4+NBOeTjxi1vEm5+b64eIabouGxBVwqrrDZW/khLR43o6GWmAlGmqeQkCJYRv3k/Cy+TJ5qwuk7JHX/e85g3qQBTsbBt149i4Vic+PgQHNO5eFZwTK7zm9RnLFxey880q8eq4VIAowSmyt4xeePvs3CTVEUMGW6ps9owTOw0fPN4Uvg2siJahyQXG1i1Vz6QL6YcOPF7K2sGVYwxyExECpDR/9eBHSaJyfwtoofx5edZR8p0NwhcvP2mqsVJWQjKKAoETActGpG1Qd3JOvgnRDfs9tP2703jCz/p734Oqmh+izmD2xjaufHjqflmVcITWZodlyT6iqskDY+ZEW3bLl8AR8Pdp4DWg42wRifJcRRhYaRrMAMpoKgXpKZupFN4b/HsphSBcnh2gcbxFBGCrbCRTuYPAdSm4J3fx9zPfOUQWObbQybv9EFU954pC0Mq5VbzKrhk2Ru4gTbQXsZtF8MMYh2lVUaOni/x2dTWinfgyzsIxARMG5WXFqmJpPrQk8lcfurJoA73WgC6FrFoFZFG+9Fwj4hgLrBAXjj/Ol1Th0d3YhhfdiKEdYh5mUzM15/8Y4zoExBqRRAbNz0u6i+oT6nytB4WIkO2NwoBVBW+c7yeemKc6ud0WdME8pGRg8hugac6QTn31v7XytnebiCAYL3L8ec45o/B0N5CpcWVDslyLwTexEOM/BfUxRlO9G0Vv/lx5P7zYyUpZA0P3UR7f9OIqXl3RrYPd60rCzujcXXg7vLTNkVzB21C706fcffYp+UlH/jgb1G6ivu76Y4GfJlvy0cSY9D2uvinlSEXUgp7kKAeLRQqSSoQ9yHlNpdebJ1vlJ9d9XRFeLLr7hslDJyQxGIZGeamdj3kZ8XhsaeoS/Ms46yYaGP13OYQCRvpV4SISBcIGURAlRSbY3o2bieBaycuB2hoo5dG2Nj4oq8BvTPd97vk/N8ld5ENpUV5F8FX+h7TtRtFo80OMknMSeJ5u2Jqd0wB56rIu/I/UVWXiOU6QlhDSCRXA1azwH6N++64qKrJv2BG/0Or8DnkS5PcScwSagyZIguTVLI/uFKk6swXq6l2Xvgc5V23wYCVJRj0/qIUkx39KRArMwg3WS2X/gA/zsvpHT7hQV8v7bWWJvLioEQ2Ytrv8pTbFsAIc6pdqYql7lz40VDu30IxgfRLCciTYtImxgYleUClD/aE58hbKKFltLpJvZOWk1+fcHAYxEBNSYEENqrHk8fLtVNhVyGH79J7HADjiKFRg0dHxO54BBWyecdsg6Iq+cUILnBMqc7G+Y8RIuGg7jzv5r1QWdBIPCUHetrat8NaqHhDPankgbYwIJYH8/F4fxQFg8VhLibVpP7jtlq+bzdqZ3xQzHMIHqAFhBU2HoJNoz+YI2YIx3eRU9PolrNqFmgh5AJZgTTNmZFrJNQliRA31FJpzEAsZa/HyMbmTMI7ALvftgEYokznI+otUYs1npuN/K+uJq1ppZcncn9DywQdY1WZ/U1MKd9KyGhvUZBeQnLatpppy+O8w8z0buHVLtMIz0dwemkJnjiAMWhH+wCLXS+AjIok24qEqWunDr1j4gXUqxnmZ8rBVQ8fOxBGAhbxF3/p4CV5abNgLZrR0kGCPzhmXnuHXHdQDb50jO/t1PV/vKIAJ/n7LNbvi/2HWokzduJxKW+ahQ0c0jjgfU6c5OM+Tx7HB2PO8InruC9rgcunBcDMOHiJax4gwASGJ4zXhbzNZNkzj1c71CedlIBcZxUaRTzjHyJpIc47t5DjPQ76m2d5TWGczxPapxE3Dm9gd9MAkNgi8a81Mk1792zNEdEgNkSxyDVePFL37ICpG3UqiIj4dHTaBVsYGwP9WswMhj3USgpOYXn4y+BuAaQpAiu7Kif4dc1MeMunx0UBAcLTeUv+b/zXkHEqSSmPozEAHK2xhvFPkO7PasGxnFmyQqBmwvrWXQr+JYpnEwg4PrCeVFLn90RjKehnUyXPs8zPvlqv3KOsNFBbsBHhzG7JyZqgscfOs6O3y/jMizv9QHuOUxjHDgC17eoaF6pzdMjrvOfZOCUvg/QXUyJGgjqxuzE7b8I1AOTHd/of6zHnqvn40a44w6HChseuCIc4MWMAcJaURE/efgaXGfw0Q9wZTGgY//MIq/KPS+VndgbcQECxwtgoMPbifBSReiTSKr96F5L4xmhgfG1Ln7lBf9jGiG83l2cOG2y7tv9XkP8GQYVapmrhRLh11fVJ0vG+1LGYY3a/hm60TtrNan8VhltUbw2DNKrpcIPUdOwDFIJjhZh4FigCUnBvEz8U8KetV2giemqEtvkgUMipkd6mMUNmFM32ZBuxqtfGlTkQ/x1lWBao2NzRNwywYbzJLjmzogyR2lAUj3WpRTDAKIHSck/MeWELVdlJolSA7cC36kdHHXhLkxo65nGcS53hR3RZ0Jq6thiEKaThDMvfNAUV4Ui7zn+/HIwY+aJyQwE+bb6YEkAXADQj2SCFg1Ag3f6AiEUPDzg9aFweIw+FQAA2Ad6ZgVNQfMZZ0YzsHurGu06ehB5Kt/uxDOrpOSCQK5lAPXOjvvRtXg3O/fgMFnr4UKSWiyuFZxfSRSOYHkYPKslrVPTI4LLWKGpN6bUwiC7tlUlNB9RPsQoovyiHUM8zVKEe2fyP8MCshhCXN0CUHAwyK2yG1SxtHISloOmVN582JPxrQMMcTpgWPkOWMtsK4bhlaa5fO8Uhq4C8zFbNwqIxP2vlMZoLIpxLCHGMLfW3nBqRn4ZIdPo+tMunxKH8sBe/bzlZ0lQEB4g08qU1Tm56nb7G+1vMpcouD2lAc2pgLO5OT+uHZlYujhKajGeCqznQj1hVww82wk7+/5mmkW5fTWjktJ8ViX8C4IFHOcFBF4iYjNjnI3uy2M3xMJflA3RSFZVilYnx/UfiqTD997Z0MeyTs70UaXMrUGZJu4usCNrlisNwC/Qznt+kbjSC6fRD1+ir4VxtTXGI/2kzCmeQ8TGBWRqtExGOuK3XuWPCx6GP7wefIuDunsaIsp/3EvUqoyy8hXz43WEg+t3aw0AktoAoQgJzoonjkpYC9Er9/Qo5xpzEgq9L6EGutAvwmIf8TX6WuSAao24Q1SAEibBKI2h5FEVPtSEVQxm+D6OefoMD40mlD0beN9psgF9gRDMgMkPfyf2Maw7XVgiSvJ0UiQz2vD8FHeUh1JPw/lliDJV1fOWxnTbZPxhfZ6r+YSVsYq7llSnqmPvhceEXQZCyZxAxO2zNIU5KKet+oDruQMTc25clEjwLLykxNkKdJMSX+FuPXb3rAHB7wZHSvHAhQkAkkvDzPFRWwbQPERkbL+5qWJ6amhu2mWGuPcfjydzP8f9lPJOZBwxXm+6oXhKZAzW98GBru3aaTkkWAUl6FgoII3kdClkbyh+b95pJFnJGVuS21fvvtYpkVcQZdOTb5msCXtEoUhu3bw7ivsOchGNikk3ww75EZ1foAnV51P9eXmtkcFWJgOxLQNCobH2bFziheyUrOtouaOX+JUYYtWQ+1vNGuVymr5Z6nTfxuU2zwG1g0mnqIpg2g/KngKXvV8BJqw+9IBjD5AHto3o26jjHIQ28iLK5kUZOUUDMZKDdLKO3nqGCdxwDLpSRe0dSZSzpeY19ia0RVWT2ZpCGxVjm5LoZXkIeRFlwUFLe6D1tWzPyfw6uz/7YorpE6MNyjRESmI/g1pQApx0I9WALG1m2/3XmUUHXnanZWmOdPPOUXuBTiM+smSzZvsh9SHJqQ1Mup3Ee0rkW5skXCuuJLOYP37rsIqx0Qxpfn9nJ+vK7GGB/PCyxbDuFNGtw6SeVRhKlYQ2raNeU+gfM9FQPdQkGNdWAU2KtbqoF4XYmMtgZTtWeSwWrcLM4xiXgrRMJWFIoCEeAZd2ROTygGm2zpl+/Hf3znaNDn+0qrkqWivzeUA7MUxmkZh/p8BWBz0brHPIVrHs85NZ48o8HXuANCT24KA8bIG0YLjbwlNCrIL7KGGPYb+KiWy0I6g43Uy0iXQ0krAEn58f/u98m+u3hddg2Otk3XtYPVdIjgYE/s+hkrhWsucUute+aw4iQUjXrMhKYbNeQerXI1HzmVo8kSxexRQTovw3r1CLn+N34OucCVS0R3YJFY76K3bcmBDWt9R9O3OmCesAjlutlhtIZ+miW0HSfxGi1EjKEhe35T2iI3U0n9jvQs38/NGQDLT6i0f67lu6KrqDxf15UK/okvc3DarV2ITCWo8GQgiRWVsZGF8tXT5QLhKWNG4NJcDR+kJfObRwsn+gtRFdYVunfY4VlaUOnGw2ssGv5iUpyoO5p3QfLnrHkfTy0yYlSEj3xdNWLczqytniiLEztC0IyQEvk+E0cu9ksnPvBNnSiVgUAIAYsJ7Tdk51gbUdAWb828c8IrrdZE2cpx7AxMNuGVIFFzJNbTdAqQeuAZyhCHcrHBET++8089wwO+EH7fN2nGqyEacKmIFAfdudUXP0yqdo+iU2REBAFQWl/SREx/eJVtxGSJp2JRtYE/6teeiIkwoIEDqQnqLPRVsarfznPVabAYXqaLg4V9FT+gZMzA+/y9LtmGNc9vYdCtu7ReD25bBMnp/sULPq7/ds+sK34fNMTUkGfKs/wNqpZIHrbDfrZIdnW9L/0hHApnBPJWnXN02cj2ok9C/W/aGMlZtpSyiT3Vs6i8NCa9w2Qa/khQFBgeDi9izy9eegT8phvDWwuDqpsUIm0DY3WIgZ+2K5GgsrXSoomFqJJLcExGqLon5WkWzKVmVSrUmfOfvta8bu2uCrlP//4PerPAOBVZb7tYR97qkKfKIOA39JL4FHRjQ0gjI4WkqaFG/MYJNjDXazkkqbRA8X/UhX/3Z+K1eilxHGw4pD3JagLlRKJY9QswJ56KMl23Xjq+0hhJ7OpYE4s3VQzfZoedMhseJNvzTTw6QN/D9JcbBVMuCropQcUZOem0vTq+XrVH8KJQKjA3YN7T9IYJHLPYxgkyJigPslvyUaI+Jwt9CFBZElxYWHAEpUUBcZzoz1i03zXIuXZNkOitE1S0edXKejHlE0Z3UKJ6HfGfG8Q7piG1pyULFxwSfA0fwlH18ck2TYywpZ4D6kcOBBOtJgaq4rIsDSSoDN15f78iVK8fE0Lnq0se5ijUqUd6qv/huFjAys7NJiLyAs+IYY9iocL7YAtlGCUFGDnUbdAT45Dw0TRBZPMwkkE39+/XTVbC3Yvfj6EgIRvk06UXtJFoLaYbv33SfCR20xqNOSlwQYTodcPlfF29VAtbsqU8kksLScsU5VwhfbuBIr2K+Oqb/1YnIJNqklwBOa0ETHMiOSe1i4ejOtMNh7CbSMbnnt6dqzNHn/7WlwEP5rAIqo7GiPdHET6NW0Ew56PL+ep9x5wK6WMALh6oydoLkd2BpR2E5A218gbTOyyrm7YSAi1b5CO56kiudocPHRFhYN1UeaHpWPVKvfCqO92LxyLCw0CkpSfEo8WirmeE3zK3bWH0JMKVzHv9HH19sQxXhnJInocByGWBZgqZvpG/mXBA/wvx6yEPj47N9YGP+wVM/XwO7vU9NJv6ozcb8GtEZDW4EemimeNNZsRJb6ui2BBHQV9sZiyzfiZmDJAkJDZNckCK55A8akN84xy7rLAeooemyi5wLaAlvqPX64EbDq0ZMG+wNWlxfFdJPqTXYu/p+Fyxxte7iJKBRs0z12SPnJalzGdg6n7usvJpaIb2r6/suQucUHACOKR3LJUGLzB7CY/20Yp9TMzN6nKlZqgEMcOK/UudBFozeuchubM5OJOLXVboLgPTwA5KjRvLLzeU46RPdHNpiBgbiued+6vi+8VQ43DIB8WK0wSRZuJOvqfUi+EzUcQikdMq66UBI/MswKIVjLyAztM96IOK6Qn9TyrohuTMh6iAfAwn44elruMeKc7LcAKk4J6qbwsRioC/Aa4N3X0xgAa59CZHuAzLiMvg3emuDkqHMjZWIJiFEUMYTMWbxH/3W0ae9mlCd0GWwbbr4zpu7kQh5s26YYLzkHCu0bLEEgBBOzWc2+x/7gInhbPPN3Ndy6737tQIUxOH5cB7fHqvaE2MPfBxKMx+vR5eM4YpfxlIVCvF2xJNuUHMX0MHYsnjCu0++RsFadCrxj8zfRh1rzdWtnvceTVVJ+fzYmlQffaMcrdUkUte/Vlc9jsrw6vKjixaje88T9Y1DQcALI7tAyWdETQQEUtjDz8hUk3QA3jTOl0lfbzaXdq2WtdffnhDm3Hy9jTo2WVYMwNfaPy9KMiMgvnFnfuNdI69kS/EQZDGpThFpagnuMJrJUV5Rdtw57sEUKm9CkqJpZNovrSS3t56MH+NhPUen5P3pjGTBwSCkwBDrx2X6SvxCKOTKErBWp67pERdm2lY9UI3Si5HJ6AclOJ449GaYDLoRzLNcgkIJqnmOogn6bqgyLRL/iYO90Jp5QQdhC+wDjCm0oPuXgfLZmcrMvCwkMqm0d/Pd1S5aQKVJlbJHAaGVaKQ7JBysYnhiHK9jyxY7flIpZ4pCdCKpEzk/yj51asz0c7fZeRCJfpOU9Ig37yOi6cnjWiSEAR5msP07HVEXdi6PmJwHIZVun6O59oqz2XmMuhOq5k3mJ/Yl1z+Va4b9LOhuo7Of6w+lsVCzYCHhVwpSfZmRDl/V+8VWcG8CSb/c6+PPpccHD2ZViamg+GTeLeP54gVxper4UdMcaRhnItp0JUWNjnAPxrh/NFha4t6B1Y3xr+DLuNx7pCt3/Jv4sTVH3XrzRXaw54tqSTKPd70p5IR71n/gBA0ICeAU7N1V26T7rDrgED6RZJsPn6yTtazlGlHO01M2s6/nH8XCz+b29w0quZkQJUw1LHvb1qEWze+VeeZaRg6PmZmJGTO0Qfn9XttIcHARXqySUpHyi1q7+u6L+/4dIaQnYuX9BEMXYFg9Mk9Y0zmjK4RylpdXJRBt5W3lvhuCUNmDlqeilVpYHU9RaOUeaR4EQAx7GwlDwGrYQxsZTuWaoO8QNlY6TKw+kbgm/eonEZMMhhcmXK39WpgfkiyLfw8yONIC9ldOxaekrF/ld9B072Jh+tNi7q0aiUDOY8aKGU37L+QXC9RQDLx7xl355WMD0F+WG6jdKtgBhjulWVayVou5v55FdgErQxqYRdtXegx9qqMM9clwgjwEmZK+zw6c4g7DabyKCsacjLALS8pHGtgY026vyB6w1eMVTcmzNvVL/1y7xr9dCGtgVS3htAfrZvFoZK33oljweCFW0i/p3LvueyOoJsEAAq8JyxK4kJtLmhoW2NiJe4S0MQFgWR6+cG4QzMw0uGjTRRtB7+lOFDRcDld+GtXkn5qy0YOpwTMJ3WdCtDolhhJ2ilwGIx0bHRojqXTGMLpn6dHQxcWOw9OW9y7EN8zrhGns91JLpPZL7sLj+jukkm8MVWaMXTtFM9BT70eK/CuKLhi5T5UCEKa+CB15gha/lIYgJXWI/5hyotYsEsACiFc9bh6OyDhXksXcYGXHFSNaIYHR26CRwiERVFrTGW3EYyuWeMWWB8xV09iBNmA/qvMw9Fx3fnnxWRpFsMidZ8GFPab5YbrNM/UKIFttdcA9XFon8N1FKUUsuWaxUnvYiQSCZZVl/KsPObXAgvjgMCvgSRend6/QTjxaOa6YcYN5GeHg3KVxaxMA5nj+Khj4BKFNbv7YovS23uAGfbkeGONjsu5GJLoBreDd8nmFdYxrrmIYemX2mZSaTB8kedJphLXZ5BTCIdEnn6V7xFj/9318YX3OsNnJz/EEe66JgikvO7CLfS2+dhPY6bhxbiLzlXHtq4NeoyVL/yU5uIawoOzPDfDR0C2zAX+6pY8GIC5c5LADxxFLGVPlQm/Uam0HTyDehyKAGqzagLds5t4zoPJm1U0wMa9uqfvbW31GCO/kER4jcmJnOBMzB3zTaJegGDh/ywO+N6fR0wIprqZ91y2oT735pevnlo+xitHlII0C7g2/MapF5KceyA3rFgwpeyvhs33Lm5DcDXvcdctpLywtcJUHsgUXMmJEK2OPq9qQT2+1StEln9k2bLZDG/XEwqm4Et6YpcGa+VL8nJSuixVOYsB7sdfgR5V/INytN0IQMy16RkHIfcJSCKhNI2u3G0HNq+Vt3U77dpob9fZVMW8qGo43fOdJqex3Frr8g7/v23uQgT+9KNye8OGKanxDsZgv9AO0zp+tBM/4QPbV3OWyLAn5oG9ZJnKbjXHCm7NGTh7eq5eDINjeiYzjb/4gEEZTKE2KhddgmmZAQdgUjz+IqptkLBcLs5bgHZQL6+pyDNFDnLc12h6B3qH1vbLvWE08FvOko9nDkzklv8ItUjAJ+ssCYNMmwitWCcGUDH4rfLuFitF+KkH1FCRN67ebSLsHV5/baRXd+x9BBIlQVzw5aa9vzpG7RqHqSluoXa92wHKyE1AuNhtZ1Hgi8tcJJrfGjsmdNsrvA8om2odkTlK2SNDpk3udatQhPq9ShAmEJ3kCm8uS/vE1oYcsgRoDKDDNiZbLjBPrGB20Q1zJS1LQyGHTCK26+10Pdh4OlEvh9J2vP3gAKI1KEP41uieBMD3+Cb9TA10nhOy041ULMG1QrGhIi4KfUAs5oHleJWvkqBOPNoArUFnMWvfvJ1ui0ikx2abDR6/8XIqXVVc0BpSFqA4F/B16a32DVMXp+vSbHafaLYHpXI5r1EfC4jKd9tGim6CwqVSTQ+uV9vYoh10/7mnmspe3kTF7jmGw7419R3clCeSnvGBWKjJJPkI60o2eC20RZ/gfaL9XNn28aeMaUW5Gw0U5ANA988jktwp2nXV43thsm4jbY04ghBw5MVyrhl/isayZhe0jKJojbAgC69oegihb8tBe9P1z0hKKUmYvnrrusveJDyOfqx8J+RDIAQjFz4afKfwsGAVoJJm7wiQtwbuHSpZO3PPINZyybYqt9fgAnTcVeQ5JMHiDpBBnfDzORrJpGWRcouAZpoOUsaABa+H7PcfAY01PQ6iiesrzbFc7rIe7DufIpF4ofZCYMePtxv+r2po3FDkhI8DEOdqAHTwfpNyokW6njIGcElIXWULv9aBMH0iNHQ1jThn15WRQnqcOvpTIAEFtZLy4TfBsX8bZqKDFGzAwb+Ej+BAdyS37JxgONeGnJedGQTnPDk3RSqPf6WG7W3ZGtY9uRMySsK1pROn7dyvTwiJWwlkWhDb/pePHFbxDux3k5JgKB5P2lxXiZsw3X5E7NyFqaot7AdJXqz81BeyrW9T4zstsf/U9not99Ne/NhzFVS9N4dYqf86ojnU08/+BTpXM7wPeOwRItVUxpKkd1BOgxYjCTcoMbSDPdJuTG5cPfpOzSatdQlmwObHh1pYnWQoQOQOek4VBEMhEHPTnxn1qXJ73+FC5JdeVFDOs6VW267WQPClahVcoAnIlsoU7b0aThHRWsP3v0iH7oaQIhYkKJkXGSRBRXaXPE5aMg3N48opJTfCaY9d6IBOvXzBKkYLQed5Nmp3eCYF5P9R5eUZRqPFE+Fnj0PTo/8nPwZoJr9vMBDnqKZRCGPKQoCyVsNEWF2Tl0jJcpkDjICKKMLvHZ/3w3A3xf8is4ljXRgVsipdp4BuqzSIcvvk7+auocRYu8znPHu418Kp1HYKIdPSwCg7UqmPfZEfUtyGAH+RNsI8wJTPPoeW5K5nGFp9o/nUFGxHIiUgmdQjo1eZyQaKy1hbokh/VzKaDZHiAk5LAHZ6Uu76QmMAQSqWWuyYbS7Kl5+LcCt/qLGw34NG/gWw04Xxst5Y8GKtXdv+h57Tgw9A8VdT75cUbFpcfLyA7BzEY/gPn/ptDjsDOG1AubuFIxlKZz+e3AcQ9uqzrOvoRB1lmMlIQ55HbMwcsxPahjdYfN6Sm4ks2d2htZAwsP6UAVoqcz3vgbXsvfglYdL3D5DF9K6otiT9GUk8m0hUkoK0vxnPCdrP2rNFg67a4w/quOTNmf2Xg/AyPRflvNTBSPxATc8WOmH1b5thKz02AJyxowj+iSCaUWUvMHOo9/Ai1PbbyzbO+j8ii4nLa/foEv5PI65b5j3m7rkwOzyFysvs1I2qmFz0ynrXhxoqtOorZJIysaukjWtIBqe+2O+7VW0TOhJtPHZgVw0iCjxEb+op0PLXzS/WLXffH5T6jrFoz/Eh4XW62n/byP04oBHcLvAnG2JrDUqxMAXX69s9B/w1JeYvcS2I11pmUTWo9ePEUy/yL8dCwtuKS9f74mPj7v94Iijz0PBGvfCRG9roFpbVdmu9MA79gDjKkAudFWz5BGWpUMr06fx94Fv7Fbym2OtSLjkK6G1QUD6Nryi0a294aDrMZV0AkS5jXn1np5kcLL9nxA0GxFKYIjVaIjXthKB+o7LSDZUMCMqxOVX1vGZbdJ5LMqlMMU89Oq8ckvEikiP+noFK6dgYgHX4Ck6MZjV7OQ41PjGdtuklB6GdQrn6iH1Lsf9lVx3Bjf0mKO8V9CKdwL0L3l5STNWY2hq3efS/xUuK4Mi3oluS+SyDdvZ4FPA3B6cHwK5Ov81NPMunJB+TnWL6mc6ST/xCxM483Wb9X1ntg34EkeSUia1JzhMD+9sjNRSMBzB3GLvViwOL00baJVXgc5jqC8/mfeSp0YldkrwFIj/YUk3E1onm1isHHx6HCXjNz1p7bUuhb9Gp3yG/3D9/al+FPyG4nEZcLtD4PdGjtDmhPKz1+HbuWh1LXV7yhor8ilyaH1EKj2FNmYFZ8i9aUAib0F3djPWbMIwLDZQtkEgUndN+leT4mvH3LKMFHOWNG+zYS6DXdXspIgtQb2oVAzF5VnFb/c38I5IYvqwjGKyOWSVfrxY9Xr/V3iBiT0XRMcZaQ08wvfkEvtAgzzzjOOqHxYFfcmVuw94K0F7fSzPRAxwtpWiEIHbRLAYmoZYHu69IDtFp86bNPa6rg2YIMD3OYrNwpiTcnfAC5THyijoQ43wj/diku1LTNFjaypSrbdNtBJ6w+9Hys8DFjFgMtCtFxgLCaDTKPAfaHJFPIbDbYgmmOk5+6DA5NZQJj7KjRpstAnOLiXtLLf+ftlNONQFASaXFHyFo1aWUT7QNZFovcCjCXh4BKhYAFfj4FhmJ7E1Lyy13pZ2IlxIrpojl1j10RIC4uSXORup/3IA74eX4ya5eeKHcc4DQQVAlXsq7pDrachPR9oVsrmciuL9upQ2PywE5U4dOLVSvS7vjz52Z62meWywTrJAxGe13IT1Y9BuE7XYFdS88BBFSJfktM0DGuo/AKYnbGEQaI1pD/f0VzILISpfPlJ5JlGPFORM9BO2JkbRLF7mdGGag9GeCPdCrsehdnKKGXg/nsqy+D53Q0QLSoj3fxleRL4e1zk9Xel8WDvmRGiIpu61RsMRG0BcyFdow3So6Yn1LIgMoxGoK9gNySSJQ3r2lSuoymfr3eUsZ3EfLdPsl/SHmizB0tqtBXh5Oj5AsjXV/Tu7dfIoT4tMoVEChwJYP1rXopsMB+ghUgWox3dtZ0fqO7yMFvYAEH4RXV5RENZPXP3TttnOYX4qCgYlmiakr0L6+zaGukF3XSKYW6H5rITO1Z5fH36ClUaP1LvsEf2cSToQTU4PLYmnUleFQfJ1ZjbZCEFpO+r8vtJAVNUZjvcZYqSWye54qirEFB1AsJEWe3aJrDex985bUD3D9bbiL9EjjE3E8XhAQLs6k1bRmDDizIAxftH+aRAosmFjQFDx9wcUmu45JfQaypmGq48SubhLMB6ODQQeMfOWma3TgqINgLup2HZaKribjKGPacgvIjU7PZm7mCdcuPS8uwuyVNR7IEGltMQLd1jvBKrQFp/TU/cusxt8xesIipc++eY3MNlohEH4ZFxARSfchvAy7MhUuGAWApVRZX2hTeJKvzZuojAQ+k81GB6q4EtqA9+gpBVkCArvjw5jBOIBztWnxVpneu2ttkaFYIbq4xlvojLneHeRHcjQm1OCBv1MrcKP3fUCXFQuPR3cdEOgrPHQpVw4YY3yITl4cUArYN6J7WqynUGoTugkHLs7UxPkaGyOTDHDU22TLvnIbZimpmN2IfX02agcfyykEweR5wKGDouBGtQbG3onOyqKzUfbjfilJy0DtZ5DhZOotEIwWeyzkO1qR7FoADz5209kOLROBSaCLi8RYOXvU5mWL/SyWjaqfJKFw4+IUflfTgIAK802wyVBVK2tAz4pGpqm0/cIKRBpbulAwOf7hGa7x21TSe5NXiQOTEt5xQ5g64ieJqTOt7AzhMsnarTwm+khS0AqWI7ZGehb0PWa43JMU8JinNnc4boY8AsWiY3PBEDtzyc7vBlIMC1e5B9ix4xKb+ucL0rYTSnTEzxXem7Ga1NLK6GQp7M6ff4e4Ngmj7ZSPlYWjw0Np3zcgfk0Bze9pmEAlu0RZqWc/KbiuchJXXAVHBs/IVKIsULLedOy/+p151Shna53pASKn4HnWW9lHbIk41sMFrNslwLiGiFGN2E9lrG/19VWhx7Q3X+DtikIb42DKeF/pcYEtnVNz8+70XPWp+2Kth2ts6IoupqvWmHNR3u5sWWNNXHVTbpeaGa83yO6ARX/3DojeDE1RzC8tLY9o8Sno2gGPvbovxdquGj4VfXaRgp9xv7Rl4gnrm8E1Y2DHo6nHaBpOsuP9cD8jXitmThV8WU8BYoqgrv3bXjtwfbjf/SK7QVG/sTWGJIyPEZrhmr8t0QakfQXfsSQdCLPgCPT5hYjySuhGZabBULtnBxKe0abNSgp9eWnIddzTlCJBCybQf+MlsOO8P2b2T9qBcetM6mqwBeWGGqdhIO40OBXD04CrwKszNVwIy6NAmJGDlI9kTZKtR3SKOnQWAz9xSfV7Jz6mniXmdA6J6x3mZ4EI6sQ9o+M/Nk0r3jAyzX2nJsXEEZf2yfCN0oZSbzU+JlQYodYGbhKF7UbmffVTXc8jv9UHR2LeDM7hTKGv0avr4CvL4mdzcp5t2YEDq3pN9YUVl8oOt9doqjH/yAqCQBTHQKH4+BLmOTNirn0Qc37fTaURLUBL2IuPvQdqvlawky/JbcxnXx77EA95pelNesxp71STcgzfNc8NUzC/M9duSS6VxOeZ6mx8aGTBQVOdo6KG8xYoVfXiKHsFCqxJ9fZz0+PWGIiWAP7a6F85R+FuyRqjemrrOzGCIN4RkpCcLxvYAeO/finmwwQ/TtbZF13XtRQ/YxoJI+qVnt4hvDkfL96LPT6+kIaPoPigvmzcWTse4ahKWbyyXfLrzRKfZNPzpG041LJ9XAV+cTgWuMcPxCMm6+WoMq2V/Y36ATHKk/KOPfBdQi9a5vqs3eR+WMdce8wif7vNvvGFtfUxzwLScvMYps1b1rE//rzlC1I2f9NQanJ+7csa653RSfqJ09UN/lA8blVMieA0ylHZPgn20DDoovUyvXybnjridJKCGWMk5dh5DYSzT4c76EykcUeB5Opq4PG2wv2R6cf78EIvbN4EZAmejjYWbY49oaij7//0AX6K5+0FopuRG20H+LZiKDmy6Mf8p2Oo6/nxSno7uJ1NkutrxhFggq9ATerdm4OnHHJW0FJ2knLkszeSmU6Wav1lNCBUcWpa08qTcNmhdvwo/wV0+u2rdVDS/8lRnZdoYkGz1o6N6hwR1HcW+ETSnWI17G165jseoth/IcGKYi8exQU/HroiXK1gu5KXdEu5OrAfTch+ZcmCifjyDWoesx8xHcSdvf8V5tMtxwjHnXlWOALXTg2GJsD7rv+3GGqmgx0QlSqlDTsNFl/jcY2l5J0xfradeHwlmU68CylBgXBtKVQeg+ZXNrLpOSf8OseQz9c/j8Ci/odUZd84wWYR4z3ZNl9zUtJzi9uxWWgc7IaiQAZukZoMk6CgsRmJL8DImSupV9gltFKGqqRVvpWXB+RTJUH/j8OypAFyyPssT7JS4rGS5ROGHTI7lQnl9CXi7KhE+I4a6JBC/i3akaM4YRSri8ykgMkC20fovBMI7d+z0yOaTlTDFz8pjC6iJ4tCG88+VP2myYLUtMgla5gTiDUTo1sFPhUAQDkWR89x8zIJMVinNRMvq8I251YTSxJCM9rQBeCUvlZ6+RoinUGcXH3ORLJWGQJnvwtHII2Qffu2Xv81uM71YVe2mRt8G61qvyzvOGilF0C+2l224QxLRAO8Q84wL+lG639dEwqgBR71vhcYnEw6apa/zSp/aBfSeVow9F+uBbGXrhjOdpL9o1uV6x0Lu9x6JQgPbNbxxPRAY4qFbd22kNz5Ss9fChRhesaQ7Glhkm/vZiLONVj0/YhfYANw0h2Dtqgq+dntIAOLOLRBDQXFpEXPBGpFbg9Wo7uaXHPqLJy5fsGyRWTe+f43hfAfbQdXhbIWdJIz5aTYWrAXHRv8ktHnC64D3jad1aaMRg5B9Q4Dsqj8hBOFdMfle4wnM739U1Q9I8292kdpgkRZ8I5dFtjD4UrRu0B8LguCFlI5zWvc/rugvaUCyNlGygjQinLmO2cl8N7ZWbOrXmAV1Z7CBsM5Rw7o0akUVopwJukVmBc2n3O4vjMNu7CLyGIk9SfLd2YgAaWtVpG13Co0bMyOL14oe0OLIpuLdUNCdNRvmi/BHQglyoCbgJnGBD6bO7XWy6yI0GZ2zH15mS33WBuEV1B7yrVY7pu+V1COMqo8Xq5V2EufcEz2Q442WYQz/1b5JrE+Ztd72P0+9EnnmNzEoFj60ozMGlRqdrzjDaxkxE5nx7qElV4Q5jqxcknaRi5LWwu2D6vXtszqQxED2+n4xptwN2F9mqHXKArXt7txkoXKfmNHjc7CCrwdiH068nTRgG3iYfRzabTNqbeZxgJZxjSLs67I9rBUphuEjX+4p4gI1v/pFKwi+hmn/yWY5XkMSxJOGo9zwaeZA4WZRyv1oQtrYCbp8ayXS5UoCSZtdYGr7e1rZOy8Ejvqv9fNFqMEIvYp04uQd+cNDPTZeQLiQM2GDzPC9pCEuakm4y00bZj1Uc+LaP+6YqGPqzYufW/NXmcxBy75915PvDrRJAzwkhe5pstsJdGd1PUMhaKoOoSMefkSawzLOaXxwnyCsbHqNpDx63AQWMmJ/EVTVgVzjGrebBRhQ6HpPiTCcu5Bv//B517nA6F1IYRWqxwk2f/c2Xw9dMNLafWHkx87R1kT25ChEPPylAkwzz6yp2QIAjZIgWO9oKNiHOq19Y+rA6s00b/RTU6BQtHtPob3VG9eUW+kxGYcEfbdM9EwEIw8BWg28npr8gZiNmwDjUTE31eQC5QG3Q+iLyE5zNQo2HrTeg3fyH1gzzw1vBrdbNI5rKEVSRoi62JRXu2OIz1tTNCrnp9Zd7zOIyVOYJgZKb6AR+W4Qi1lcIx1eapFSy6+BfAEtlRQW1mNchu8TTHp1Hi/iGahyJk3/4tQco2f3ro3vJWLyuj3Y3lOwlQ1qZ/Hq2oZduMR7o6lUd1DG3OQRKGFOiJ1hycWGe69D71WATydb7pmHFqiW3MhuE3497PP79LFvw33aWR+sE9P3EW6IqkFn9gSNnzz+ZUbyC4sB/omqKSMZ26qFTTJ6e0EH7LGmOC5ttnpVHvHndOYtOjkLbQ8YdqWC0UyG3v9djZIDJLWjGCsjtiKIUBkGliPqpBjtif4GFKqSUzgvH0r/PmTiIujG1etr94X57mjcoNztDbs+7gE0nW8OHcfDsDMGaQkWxUlOnC7qzcOmXIVAbgg+CTlUEituLIHuS5r83pM3Wb1BsL5mGX+QF6GeLUt9VAkbDRKFEp9QlmQtHsI3BCYFn/+403ySSloeEJn9lZtAQqwYPIV2r+EPqV5DzHsOhi896mmu47tqoLGhnlgAZVyAf5W33KyMZwIzIEjk2f/ZSLduYSzn48Cd3UrUvQtQkX6CnHqvoBYtf45oMURa627ptm+VG0nbWyVYq8+vyc6czVeU785qj9ebIGFp21O/k044rvD1eXcDAd28Y6ImtQ/aFnHNtilYMREgsAoWXyKWOkgnfSkbCOzTwax3yqylymKgLejm5nOmqTa6wVMqfZDWf/j/mgDPXAOnaYafsSOP/HQWYQip1+/vs3M9ihgp1TeL8wPaR6BrPaKBiIJeXSbcxuswMRLIO7bQRRMRTDIGqVQrt59JVYEfhL2xc1A7My7yB+oHgipcxIyjk70qOLt3v+AoHGOo3Oec0ZurWBVfqT1c6HYamWTuiNKiYhRyACdwYs6s7yuFsDG0GS21agcH8GWthWiSL/0pd/SJPVBUcgZVKRIMa7D6Q5BR9ydKahG3w8LWI1iHVvrsBjxqs7AE1Lx308VYu3hds2mLraVNujbC8n4mWqY9m0OrjdJeO/UeY+WgyqwtiY5nvodHGPFodCcugo4E3OUxqdHN5vUlF589N497QYwyhPM29KQ1hndjVKsJJ4JOlS2jj2uZGow8hFqVj4A0qvD61NiMXG47eiwq3ssHp+9llkwv7VHThLiWigfDJfs7IBmN4YU8epZq7aIzJYOOuipyvETUGbnrJoISJ/XJM080IRI99ExNNj8yJGczWK1Vk3BiYp/PsjCmc1E+3piGN/H6KLDniX2DruaAHvfkh/laSraMP7h0tSxtp8OyZRTefW5AN9BgbeucDMHAjn288CgltdFK00nN1DDA8RDG9SR+5oggJsiDeWmarwWNBn0kjtsdpQKY5syc4qlZhV6jCZLqe4woBV1610ehWolQV1+RDIvo3+MFTdX7DWH/9ZKL8Rh2a16/NB4dJB99Kq3f/mS2bd7MRCRPqY631J2sCzxDB/gcpTwlZTrpObXCnKt1Upnew993Upb88HKfvqxLlcQhT8goffD8z768GHQqB3Tsr2xmxsqOrrepZUICXCXz3+nDqWDhJ+RZuGMYflrWpTTUGGpNDmVu7YG4OZLXXBza575YXGwOyjO8TxxDcR5BGo6a7wC539h9Boy1SQifgMsyxaQbsZ56sRxrq526J1b6r/A5t0k8pSYITRQV2rJ0ICYHc9gAch2ZYycPLvD8sClNV71E8HVE2Q+sue1RQ6+U2zHAfXMLD1YCdALMJ0MrcE7OvVVOKfMN57ouEyb41aIdtxyfUxI/Gxz8SFLfTKykvGuiy4zlQviqIX8clCkdxlxRiZwwL3C2u4lmJWBy/ziym8TL0cO7kUdCSuvUVB90ZXZLmJf2n6CqZkMQCIe9A/6zwUYetLXTA+Q9uesFWKE5oL+ObHXQ6e7IZ2yxqJlhRuXeJBTY0RTckw/67xTlVDeD/lp5NSRJ8qRl1BoTesvSWMqrTtK38rpBF36KNT7poVtX0hV4VmQrfHW3tF2auV3tCNFKDnGYPDNgC+ZxCigBJ1YBTBZXzCx/CQDAhOZRzUxrtCDueSAS7e5E+7EbMNpYivHSprAgRilhp5I3slQ8dZMryxUAIiIww5Og2ZLbab6xqbV39GbF+jx2AqiA2VJj5gxQhYz0jik667i/YPMkPWXmVlpmG1+3Pie4EY7GYtdxXOubZbmyMtfVRq+pLPyk0vxqELlyXYt8gyE6FpO0mlvBnrP1WPYr7yQgUuLzsbYj9RJ+7Xk1hcvG9afqxKLNAOnJNglgJuJa2R5SN36tXtHMzncgPVfscQ1zJmCm1JnF2IYZwZiq3tlSl/cYjiXh9S+5Bjz8fYP87xOtnBYNkz7wOqRo+l/nMFmbxRnlbcJNxT6YnsTEBg3auRUS0RMCoNYs59Z2F++WziQ0kbF1sUasbr9peMKsAv84lhvLD2cHtm/yejnthnb5NH4GX1dePzKfphA1Ppmd6dClQ98LVmPT/VMBp99kjCkxA7wUnuqEUglTq3g4ktdaYe4Q1Esa8MVZPXOqPP7rhugRL5NHcMX7rON6PLMUq36xqZ0gJsqOc7HMHueUA+IYJjXz5TSPKOv66EHk5Da4KzZ0j9x0Ueygk4S68wil7xY6MPinEVgNlqQFiTtguwJ0cWC8ad0gCBQowWyxr/sjD/bHrDkCpyRr0zApY9949hfo3+jbruUXZEP1a5ltIYkP8yCa/lnjHQcw399pYQQ6vVG0RgA2j5TyWcg5lx/PN+mVb0om7jyA/P34d5glA+McACPJ8UHpKo+FQArGGt1+ujM9umbs0eV5Hg6NaHQ3QHeT0bQnY2OKGHFYgYtOBxZ3DNuC5YpO/hYO0c9MOcOs+TU04q/5ZuPgJ0lKd/YHXJr+22+FI6ZSae9uL11qaZygOpcac5zbLUbW1dmPfmq1jxYY7YyndYmOFWKo2UH5qYTVPjFJ7OW1txHiDU6CvnE/vFVDNTXpRaVUWHqS1Mn6Iu42LHRdzzFA1hm6yd4WZE1KkhRn9LzU8475TS4WtA2NClVfj0huC/Fpc8BKCL1djaFRlr5cvYmCwy/Wq8yykL2Uf3Eb5VrE10ljVqYNEcQ4R8NzGv+RHlwSUNX4OlVC1bw6m13B04AJNEuzZ+/IQWKQsuvYU5bj647s0rwZdGaKd7gHpZc1axBVl7AXfOmfV6JHuVLmfqwKVV5prbVjw6uDuoOh0XEujbhm7xW4/pubxBAgRf9qYZj0cGaGEk+G7pPWYw2VZYlpqlfFKKZraKQh6iBRV4z+435FEhiVNZdK47ZVVEuxIrCcNqagb3zfw72Vt5uhgpsQymslyA9xGmB0SruZ0+HcnmiXCKrTOP74AzMOv5z/mWPlTgWVTDPKP7kGpwwfZ6GaPqKkGunIRKvC0ltfnN8JEQUyC2CknI4GLSX6oiA5ujmkZhBaEYWvttLx0xz8YhoeHmVDfOXlzyUWf8zQMNk1fPefSbK9+SQ00AjRZVomRyLW8PXTb5s7RSQp1KbC3WbZ/DBWx2yPfkUjPl2v/gtNCdXxdMnbxfqEq2b9YYpiifsN52g1zki+ji578qwdrJHCJYDS20MMERtfHKkiD4lH8Gj473epJDmAB67ddebKW7d+Eu+NMnCH+tIZZy+C9xT/L9q0Co5IHQ1u9UuNz79iG1D/oQbyyTeuzRfi8k6THZh4tTiw0mwF4MIGRX2DH1QDl9Twgj34Y4OYm8H/5PXTMWxfKCjzKr0eVcs3IQPUs4FhSzCbSCOcciqSjM/Je4Z+JV8/naMbjuUrd9QsZyExx8x3CHGvWkfheTEiTOGme0MhEFbBop4B5PT4vIN/oLmKwi4uSXxs+D1GJWX06HqhrROh1fqsXZ11DWSlBqrTVTnoTLR8YIVczBAGIj0HJwH6LT5smlj/gphNR/+9aG44c0x6vTNrWSfeepO6XK45QDx1lNGxFTC9mcQxeiB2xcvgkU7sC7TrZh+r3c8VA9TNW+DC3u5bKjLTXUD7lOqHwidpYEaAd6TyjR4owAIUaJF8w3meOn/itBTc5WlYx8Bxg95QRxwa9kcL7QW7vRcpCcVN6/Zi/v7lfF2nI47D9XcJsBiiAevSr8zCZlxgc5CsA/I5UHz6nIWiL6wbhwngNnQTuWWb/bWfrG3xAnj+4R9IP9/m6CQwLqkx56MQmeAeUa4RPu9E+eqndZsgAdVUGX7wriZ11t76T6PIdTvB/mpYZFdEUoYqq4C3e5pm69si6dZPfbpRLR0O3lAkSICQjTEp/MTrrMACzxwUfh36+6kN9lVMjnmRFs+GOvctrZfQvsSHvT8SbaxwSPP1a1VZHBh+i1klof0Jh2ODz80pyOtk0MPep/yRoezO/qKg70Iy89K85SzU6XrChC4wblxhU0fsjXckJcDqUL0AcVCWpaoyEdeegRdKsYj6nhINSbOTTZLlxov9r8+cXrjTKNtb0dTs1hTc0b9eQP5npUhntNEIeMW29qkPu8Kt7wlcsH1I7Lb6K+lkfFKHa3+MxWwsXboUMiH9uhrP3iObUtwhLgTR/ocQiUpkuRijgE0uAgber+RilNMIaUhvPpt4HcHt4lOV45bDQfs+TwJDuq9WSX2XnqPQp5o0rC6DLo/IrehXuWADb32lv8vcqui3Zom+WHWdMGZQKCuhyrwywt/bkTU3GT5tSFhkmrIO6lbledP8cLePgkrgOx4a+R+XzjpgGHTIcGsB/oQMHqnvtgaJhgfUrg4VvGfPfxUsCzefHQOKUWlNqfWJLFETQwoHfXNbuID2Is190FXwmkh/771NNCDC1w83umYdi5b6L4EU9S76hCTyFkToRRYESw4wlBRLdIyZXvryd3zMbinMFfVy1ihI55YTZsEXoQhlWWaTXlp6LvXm0j6OZ5v0mGVGu/TxVqMjWkqzjwLgH1t9dbj6E9YXziAYeIaHU0MJu2iih33kGrUWb5rqQca+nKwaGLl/M6ODubZFwLm8WeehIHX0TOxajwyhiWN1xv44D0Y4V7bhFz6hUeTiPkLXXUmBRkkLu3PzF0rOp2zm+pLyhTRtJCCf7OSIWPqOkeU2YyzzMTfgmsTgzq8qMxafFS0x8G0VI0vST1oMqWdz2FdAG3igzc25b+KEQJSK3+XWTSkn6LYpzELaR/2m8/kY0yTZNmaCXWjV+xOK+5saN24A+M6ncAqpjy1321lXgyKPObuV16aS+VePnlvNAfTwXJ7CGz9swe01UNazxKoo5DIOo/Xd5EroX1Anand1g209rHjzpF2vGJcUsnQdIW4MjPqBaRdqRAVYH8dLF8WusoEXLUZbQMBfQRX8nWckDQUUGKgQ4BqHDJJvyiSfz2tnpcyqJaGAHeE51bD03Ew92hqP0f5ZrNZq4qpOe4zX4fMbUkZIO10k8Ak5VQDZCQqC+EN+GKhTlfR0UCb2Z2jlsst5k6WKcsWOdcsFQUjlhwVpjUHkApW93IMnPu3i8DBn6hnARev+MVZrySf6xbI9bD48p+ZkrT6msliBZHu6PDP9PqqT8tUxG8udn3LeuUvwCzq5d0EKTRaXPxgr+E8czOBEdNvHDtB0KUEXf6yJ6gA/6Fh0cUbRRSpPZ5q7eDUGT5XofyIddsRMHv0merwEGUoSPPWAvOvfi5285q5gS5JmqTYlWTIJXYgTveSJaZiQagTM1RMqMK7+NMIwWhH1nBJShZg90q5t0z6yAcWTh6CCCgRsCuAI23uJQ9alR2U0XMxie9cZMvnlN0LemHfR01YCnEhTt41X24mU/frOtGsA4bcIyHzrzuxo3Yp6XCJk/0dymD6rgQfS3tVhr/8NgeeWp2iY+XAB2Sfd4CTQ4h6luDlXM50GB+TWG39YoVaACvjKeGlSIISSPzRGBO3VbOQZDSBYJDXIqaV5OqgdcDUTLPE01g+KvxNotTc5dHtGaGKeAyimeYGTPhoZh1Lr39HcJy8RjkdvA/4UmNWhLHufRZuHutBljIcxwUpwOdGTuQwBN+edh8TUEhR5jLFD90Rnr+oanXGlVl9m03fSqiqKa8euLiwLuWOvhaOkwxK2aQGNEH35ANJmp0qnddvOkhAXPnQ77KOlhW41tcRs+L7yC3CkWRSi9dmudHPUtKKFSsci2f0+uTTofzydw+UTGWFPt8eQfZ8a19LRSZubtlkVSEo+7Z7JBC2iN1i2ZIfSPqlY5NaYaPAglu+7l7+npYC8Q4EVjRAgAtlSu/B+6fYjiqIbixbMM6UV8300fQSBTm5vLxI06We3rejMOpqNompEcwWh8B0NYNJlhOQGEtSC9gaK9l7s73Zr3H5S/lpU6iUyFJiu+GQtreWlXBv6yzaDtbei53w9U7/dOmUJumQ6bwBY1GJ5JAe22UgpJE1wak2ewV0SrJa+YqQBzWjeEVORNjPm/u/v7ZIEIPhbCCG9vKamhlq3P0rCUU0GmifWl9x/0M7IOd3aeEROe+qROmiwBMlFNtl0VPO+CXAEj14MnDMksYKd6eisczrIBKbRyse0DSZElpzosvcEo25gwcHhCjrlFRe2D5rilIK5PE/D/g1Ds9W7VbBNkAUE6ZgoVE0KBxMKdNg9Yd2GUEvAMPphxkFtpWbPoC9+ExKkUcQR15QVnxlD9+orFoc11+xnQSUeI/IW9ECcN/vkuSd0gP7BVb/AB7/EF8wcLfRMResyuAnztXjYS3CkjD/zuXlfvGvvpSyHrXQNy9yPNkwy/hObdBh+6dHj15ZWpxW1Nd9Pi6fUDYu4TxrDDuWUS61KE31UOCRocRGpDSAaOKX/FM7Kn0KnjDqnj8dhLohvFYqIaQ/uAcfbfgwglhxYTHRFFdAQ6hAinKezMxv76IbUYEhIURW7OupzGi2dT7QLFejkKxehRMdA53PVTBMTj4Ow9N3jdCU8YgoNNE0q6FFIeM/eNKBVJ24tlRRG6FXbkbh4F8a5H/3Jevx0BmcCnDMXoEwAcfnjLVRQXgd52DPi+87pMNakRKioZ/Kl8byRK7E7VSaW9afTOv36Jy0D18zb6sL/Ztg/AIejdjoz+x5t9svXW0pU04j6L7fWqW3Hj/1bRYskdMCK3X6nGBia6XYA05+RBwu30bqjDgI/4xGROCVQknNkjSuP/jl0zJFkJa0b5/W7IHqcHzleW4B6G6nwZQN2fubY2qreEC9LKumeiMXUr61OgshqixLLu6z5Kt6+tQmSo1y3XBf5AcLpQKGMTuYvIA7Btmr7dPSqTRsGMhaxwbHM4+4APaCj2A8kF8C3s4vW1fdAVikMP0mGxDkqhJupjJdSbY1NbFBB7NW2gQTdhaA2eNQftYl5VXP9/+rkUrHwpuLy7JeKaeatLVbd/9md4U3OCrV36MeTHAjxcvAR3P3XjFtG7ThmvUG3JYTzxaP+1qZufXrBpdZ4tY8VTjrLoxdh0+tEHa89oX7dpIEUyPCuqv5i2/aeyg6FGdNWpk+Ilx9yqd72V23Gs647Wq7DmGYhOFWk+s2YEgqiLop37AZem60paw76AJ58vChkJTwozXFVQYuWfH8w5c+55384ho5nb4IzcmyoYrGiVh09yldWhOLDcyAdVuwMN6TT787Fh/iaDeKpaC0xcFMFBE2lbNtD7/7MbPA29HOEOi+JG095kszjDB8jTRxXzYG+kqht4BQHmyVpplp9OubHn16xEpd4qnCi/D5UAQ8rjAMvMU2gx2YyckTSSwcK0Yr/P8NMKD8F3QtMvV83lnNYeun74TCi/wEGiMovxIo0b3jdxmI1vB6ovsVEqMC/pm88qRQb/W+Dm0y9JpqdhsOPOjn8yPfq5MmG4Qlm3hMiezFz8UcbLZRHsoov3Obtk0VcQkMeP+8jeURUjMriRLXQ5jKQMwfIPxIFbF9dI+nlsAQxMdLkBK2BQSofP+fEXacFQqRwQo5BRWy98UxE6liSclGvkbHU4hEFVMtAegjuPPZKYQOdoXJXhU84Gb4UffBHWo/4PuGQzJAGjQl/QrsleKbtEsZD79URS2IojloVFqB5diXchLGts8z01/fR/+LMuySujBiTMgTC63Fe0ATzHezp+wPstG3w2XnXNnlQ57boRpXGLZnLtLpBs+egc6w49a/48jhTdos2Y+S+QhFmU1vHZ9kLyPW13FLi/jVxWFEASE/KLS+4FfkAEK2jQbeUXQR3mR5wFLaa3dlB7/Vop7zJ9Czr3uphBexjhkTf17pAjLFpqiPg5KuzMiCDN7Ev651nVivHemS1vYJEdgly3UewcHrdC4VYpNckGF3RBIOTt6lY6BNOZg5DIu8IuE6lI3AOQEkvQtkowTW28NP3OnbKpSGJd3YkX8HPAQ+FhW0kCRuSckcmeTBw0LcgPUnz6xhq6oKo70AdWG7zc5yamcZ/Xke55xI+11uvSksQgkvIFuI3J2JffO+xpxq7SHOo/p9CxtHq1GS71AkpbyCzCUE19HOSQZ0Y7IO2mWgIq/WtO5QRKRVI8jSuGvqpiOt1EO1ZbmEr6pkcEIpAPmbFlKGyYCz8mtjntbXxY3BtcPkzqMrnsqAqzW7tnNvYqzX4yQvNU7rmTrLvBREsJSFg2L+wGF96UvVaSI6+6ItRnOg8QUd6yJvDH/TkQNGlX9VyPF/7km7n/fMs5VeRwyplLeIMuWZAU+o7j3O0wItPfQzgb6/AbT5iJ5GhuaRfGJyQGzxl4k/OiShqGXgaVLpvNuODJXz+m0rDOxCaeNSdXQqsTyFK6G8eMgYXalxyBwYcrZWOOyl6K8cLrFiZOM64hVqYV5d2xfiHTzm5GL57u8LkR16xRvFrK6VxX7pm3ZrZoSga7wo681NqmYVvjQS/M8Sn/LB31zL3str2W0Cv6J9y1IziVGca+j8FRgPYg2uRI06xFKQxG7WpmBLBIoTM19Vh++H+wf0FBDuPxjW4wCIE+d2i9OI23s9RfMb98LUN/RwmYM+Licvl3ZyBesaNoY0sNE0aLTaBbq5tGDHBnsqEbaMhvHY727QBS9kqd+mEDgXrkJI42ZonHmJWJfo9M8UlrJSbAcYe7w9sEVc1bvLQEP+yIJJIVsND7zGGV35AlSq8sbyd9HxbHUE29tTAKCH/qhSsw6miBB/s6NE3/tsYS6/4Mov5B82amuPIjL+dwokfcHLbqxf1N6V3t/na6AxVsX4LrTn9Tk4HCUVUeypS9sHt92hotUfeAxGfcoL+G0dXh2qx6AtRG6xIdzUwgGXjjM53zLoqibzxiqE0v8ysMROBBzRP7pj5EH8l3UpluDWHglvhjYgdGX5RYAoJW+yF487gqbnAsIDP2tKnMOz4WAYQ8PNkbdkTNoIulvRDiudDgsh8fJAK6wOQ8xBOuW2fA6zwtwtz7YJv/03qfR9D8wNI9XehfK+v/ElN4BwCRu7PQTl6DpppKKQ0G2EpQ3fQnOMjG3MZRL/cC6hZpl4hWCB8ifnMbDFD0WOYYuhXoWEd7EbhIty6G4yhOet5mlgtxMlMda3JvFVISBDX2jNwX3rxCpnK4CaODMQC//PI/wLzffaoFc3qjSbmUV3FVYHGYr0VhI0LUAIYYvEgTUA4Al636lS7W0OTI1FbbH5isnMFu8YnDU0KtwJzwa7NJ1+VRNlaa85uw948Nc1taHkWqQMUsKOwpqq8LNL1a9mIC8S6ejTY2EdbdjsyNINJJIdEmJpb/1RnodgcvY4DhdE+eq90+tHe4SwHp2ZetmvrXEG84JdiTtDJrrFTYCHRKYWnKwXb2jzgvTQW5WUTmjrTZGA8IpKntdxtSNuJDuuoRGYFyYE7M5ZXu9ErCx8EcdwHG/wxE43y66O7njrD4F/z0norCBMLkGwpvZv184e7NTLlS8Y6DFlTJH47BXozt7fsizs67h1CFuPslwWtRvazFQhv8wTh891200WD1qVaF08CUBZxEa0qC1sZoivKFrm6I/h6XJhd2WrQbcwg3hyVqwWypro6nOldLSphxCwwQcOlrO3tzrV7ZjOPZ/ozhdUkpPjgBYoLhZkFZdsMzhlHFk9E2VIj8JrZu9vPv4jl9JllmbCQYZLhX3BSKDufKMY+Iid1LO8/MsjS4EmxybBbEJWlxlVTTP8wfCsP6mAzj2QC1WTQ2C+TCkjMjQqvHcoZYeRVb2Zntq1s0sOPOPhc2FSUGeaOh3zdv2IxQplWL94jM9ZrO6jSY4W3gmVF730Xmgr1S0/3/Tj9uJYehaqq7BcuKmJJG1V1VfBqE3vk+ohwjBDKBZm8/KYuC2JAzmI4mAdkl3RJ9npk2+nWiidr8CVP2pGA0WIzIblNxYe+a6BG0EUjpIJbfoBhZexvvgxtoj8AehiHJjWx6fRAAvifCpou3BPvwPcBRn3cBuMgyDZN0KHmCNUX2d2K8mmyJbSJHreoej/ei4W7L3KRX1zdRB9S1+g3ZGXCkQUUtMC8lWnGmIjZxWqe1yXGWBncf/7X/IOZ9LE9ILrENOJy9Rgl+insLh/edVLlreihPqJsArcjz2eRRZVJpTrld/FrfDTSV+gPLIbnTzFHX74X+Aiu8VLcQ1/IVbbvgzhlMxmPXxKXPYMn41pdduqryqz6ponMXoBFNcoXwpTRGZcz3SqUqBBxMENSKYsKPsJwuMNAgL9g8ScQCkBkqFMmPIGwxmeR/OpIwXWNEZ8/oTyD8FUEGjgjYzmpTKTuzDicqVxa79OQ2fXSD/egrFn1qD2XtJqfaggh44SJsJ/Nlg6A6fGvZ/qXpHd14bM5pV3QLAUcNj8Yf8ZJuVHtuNQ8+5Xq1LtByCoohZbGvLok3dpwVWhR5DMEEhYplIvt7AbfFvNKHpR+8Ws7sxjorlyotmx3bqf9JvNqbaXV0isDlKvt8Be0e33EZf6V5jPfF88/uJ1rV23A/47nBsPVLqo3CNGmDBiucb6Rba/K8Tyc3VCFgL55j9HD7KtAEFBY5wT9/uofJt2IhNhSXUBpHpTyA2rRb9D1UN4uLKCiEJU6cgnu3ZBhMl/Oz6dOG4P1hC6gHY+fAk40VOIA0zKXwI2c1umIkjorKUKuCpduGSbm1I5C14lpXxUIZ9TG6FKUKz82DVZ9r4V6NWjvIYyPidJvq5nUvsmnxBnGjrPAAuFdVviLhhSs31vLBkJ0WWbbjBzC8V87mektMAH5+4R8Mz34DYnDfVnSpXtI9YXn+eVHq5S1wa/CdhKHfB4qvmOQ5RrDVpIu9p2khH26utFRsyZQg6Yi/XUFAD1vEvl/9AR6kl0q5i3M0kuxYKYOUn81wvxvqXqQ9f7q957L83VnszyTPMssR59cv6k3mjceTHTvj22cHL0eZKLiyTtTbjPHtfCdSiz8DArJDWau4jwPDAW4JglPrycbikNY75rVYZSTzUp2RYx3L3KSrae5Ph99KJ8aRnWuqCvLgJG0m6JjIqTtw++yyvku2mqbpY52QJiLyz5A0Rjg0eVuvFbh8jFNXQXnizo8JcDkmjWx1gAmBYBkvGCcV2kcCXxTaTVmYvnHzLj2g7MFp5BNqqH5PW7imu8KS6fTNBYU/BGFABeahb1lCahP5eCpXD3MskfvlNRg1D3iQ1H74NaZ5UZ12eXkFUcokOBzPcJrkkxvhXE+3mU99WrQNoL2uxFzY69anLxGs3uTaqBtANKSZop+Jo3WAxHRDG2ATRK1BkO0ee+AEe42XA6G7KM62mG1UKHy0z5LQIzEhKDbepti44XyQQLWYxtWBoBMd20CzNIw//x3ovyLtz2o+iGsLykaVVNfVVSHJRLkcQXibp9itQoBR6/eKIUlhi5xsDQTmNkMwbZx1sQsZKgkYEl8CbOSLwKcaa0Y71ZmsUOsgLuzLVH0+PcB0uZ0OWzzmk15gd+KNJo6+i4Miecq2Pj0y8TBQa5i6vzabqRDx0ED54kAEXVWNDll+m5cHkZNKt3QPyzzPDLxXX/+fpSp+y+hS74QDBPXRvZHNKdJsbCgqP7P85OIld/78jp6oY/EloXd5oa3SO36pN/G+4CfvgweFDp3UGh93ZJ1JTczCXGmGYGduAS50XCc7kdxt/Aihmyi1nXutnU9PlcqC95kdxoEyK7ayKOakt0YY5ckoGCzsGgkil5AVKIjZAHDOUV7QyY4E4NUcrteCz+WKOg0VpmMwktomepJiZbxSMkIx5+GOCNgpNgWtNx+qwhQkwK07bPoRc6p8MW/KEbnStUUuZ8dwHIJViSuBubcSjO2+jIeLceE3j/BhZIw4rVb0u6D4SiCehuTUW7oWaGhesoiAtb9pSsstxcvShAIRSo8H4vo83/A2Hy8uWBDl4AuwrugZrL5vHR8eIVdIs8LQTaYBgoc1np2/IX3RyTQ6BYWsYBPmGvS6PL4ywrF9xvfVW6V8PtTFim9iIClV7YavP70B58BrFBaGhS750GvsupHMbo41VqortUJ8k6iodRFGSoBSiy1cz5hHs/aFppPp+g5KNQgkUHOZU4J6JAJh6UkSijUfA11qItveg8bKhb1Ywt0EFnzexClR/1ZMtZqKnOXUwT2Nymv8NO3mahcFyI2gbDLG0KB8/vciXClUAkQL/6kK0ERn5wwR7hetgX7Zumc13Eh3Mogcj2E/vcMs8/N0XzMUcnNXOdXMhbTUC4RO+Nh7uW3IheYUHCzmLI9yrDQMmlaITfi0c+pAXJIqZ0JtXPzO+DzQExz/jY3DWkwX9DVopo+A5WEn46Tsk8EFc8thTpAnU+bnMZT+1N/oCJhdwRJ4DrPlGHCffQe9C/i1mNC7/U0DSvveslxBifdKbGtNMoBqHg55bPb0Bw7ph5OBdxQ4cRTTrsoDCpQTmyfgbS6jzuTudPV3EXTfO2+ZWBcdsL0a56s/oqGThrFt2Tn54BUXQeZaDvlJPs4eqFvRlrf/0mytxn5aU908Q5O6R/6jfVZF5pkzqNXT/8ls4zwjdNJoelIcA8tgusIhQEi0HFbUh/Jyb+Dt44fGMYlVJtZjmF3gRGFk9ZLbaUD/TcauZrmGwt5Rpz95Lz+UR/tYdtVurH78/TgH7mEQAJWa4BAnoZmeAJkae4cz49OAPe5zJTdgr6Aqs1seBHDLOzlsk1/w0CQKIT2lPeqsw+WszlCSvMpzCnz93JMxkImf1wF+h7FVzlpkzUSaN0y8cjHqd9G4ZzX4qIHk8xX8ztI8IJ3JrdNwj8ai/tl9gJA3OCSJ23269c2AylWp5fQXgm6TMP49HHSYWa+2mOxAdQM/xfssyGpBdiT+uXbgOfpNNnUX2vUmp2kCTZVWlZzdvLM6CeI1pRYgZ5k7C1c70KSvqGUegSZLi+j2Q9lVYGTmZ3gvXCjF9j0xyLN5KYZIkN0AYzwS7IW6nrjlxBYQCJH8i+Y5batoewQ+cRn5b6yaqaXl1tCy74HfmkRYZIY/rfzRSTZN4DEaSqxccRIVkGGkVPXT48FcQ5czVLHfrb9ckwkicUQk3M568gPHf9NajNlg3N75Mvj03PbWXj/Ix4IS2UqSsF6okWgdTHzhE1DKC4H+4OFFibN8WKfZTHtu4/Rnj4zZz1Ou2x1dz+qNbsOb+jtZdFbDH978quT2RHGaWfcvy4jZkpAfpq+XNI8lZj6d1qCD12BNplOWXnFvYePHL1Zw8LpS9InTRyMg6IY5OXHnQnKHcpKye4+auC78HDWLZ+Beh+wAec7FeT/OjwXvLF+wIbb9MVsRjolOYcfMQB0x5rJ6hofrMqWxjTPaYkLdykrZ+l72IgSrk+hYGI7dmP7ix3iao8JMIc2Y4CyDiGuDbUteWz1hUnzp7OdVtjEZfh1cITrQtWLY2k9wvZcqYfdhpZWUoamzD0ENt46uTT8dRiKr8gsgmDbHjtSo7afQ4epEEpzYfxC0+so8TEJcdtE2HeNFUAUDwNVRUcCQtXSsGX5HVXxJRLQDrAccY6Do15yOkOVBExSaNHeMxNjPFS+lQqC5MmxyqPrbadRqqk6x9KEPw58niU+fTuL57x3qM/Jj0cV7GspfJkC1OdP5bgmi4IhysQUpDxNteQ8bjz27QZ12b8elp0SVDdf500nzVRUSCQuPb2m90au53MScBPfHrHJ6AouoV8RgKKSEY3v9YgTmLM31RZRLIQxMyvC0MKcHuKDWvh5uI6q2QDxQtO1CMywkOJIMljOx2SSGsUFTlAMYVN9sh1F0fVaBYCOCQkcIhfMHi4zA4kjXcz0t7X4j4NUNiUOalwjB27i6QniDYIGO7WXOT1QGADgQFSZg9bQEf5ORpriPh3gRWA9rlf5K65Ynl+kVEwf8+MKKuIh9OHzB483Yq0cXkeDY11dPQQv3vC61syWx0aX+LaIpgriEshauQefb3qRS3D3FpNnEsBT2n7kpeiSl7prl805PGPX2kmEnp/KLsQYxideI26p2k2Y0HNcoSSqF5YB+FKdzkGlNVKhtrlf0jlIuJXplKThFeCl/0UaghMElNUADk030cRODElLHacMhMOC/ZtNEb6bVm4BfoJ1xYnjOW4myS9jaSFcnp/uyCUpzi79pvwqvnx2a6A5oSCJxJ36QWqNKtDed2s4IdJbYAIyUBIa6jgh6fEDT/5KnutiZDbXfXvWTmiew5hLG+RHw9EDWyVs50y7wQcWn6+7iSTcWfZkeJT1verhBb7vMnZBjXQpz25544EWMewHlmq19mR9r2AauX9POH4tqHLv7hcmafcwOGxyi1WHUkbE6PrfK3x6cQliGpXVf6UZDQxcydJ5V5ETGj7a0S8UowzoWXsr1fYmtTSRozb3nGthXwcytXti1XoyDEg7UpoJybk22Cbrrl/trRtwS4IisNN+H1Ql0mGVpMmV7YO6AficeGKmHPV6XNECwBgfYlRvWr6juQzemxIhx44h7p3V2fw+68jtl2Wr6O69z7UM/2z2FF5uCoqSopBknUzumJiBfdkI6Hoiu1ul2TyYX1MBHn9HKG5EvcFoYVXpVc2yoiG4SEQWoYxuUebXlOF4hLI8hZg4kxGFhx+57UCUAW04y0MNNC3XImkmyDvi6mVcRTAUprybYRI8/9evepR4WpZJiBq0C3ZfjeIa1STY8USb/6X/OFCD4JByWj0OigmvhoOzfwM0PjuCMyvM7TII14VJfC+ebr5fJG+47/yywWyWDVQeRMa6rzyG7FAWnArk+nrwV1+aOsfEYp+reiDJpf3rWhLyrv9pV7eccOqDgICXQ4F59u81gC+l3fm/7OaXw0iH+0PaN0vaNbMdnLTMLouhrdOf8DdiOgDohKfcALUBbndJSaUJDWA2RBu856geycMEHiprfyJGqJ2KSVdXkqgtSGP6voJ+RnSh8ABkxkj5Kcbar94MN8yv4fzEYuUy6LHOysPpgodoa/NgoGw7yhcsbDQilZmkMDNvCZquXYWKnqN9GPC95/Ll3sTIEpZPWFWe0Iz1cIZ1RyrF3kQMitXeeupFkOcZF6d9xW/jIe/nZHwyv6mKsyRqTXa+i1SQhI/QK455gu+ObaHH73++1QbCN2VczNaTXv/XjH10qvdjt5Dn4X6UE/QOv8wfM3HQbdSrVtVIGbKwnsh6xcZAsZkmHLuSwgZZD5ZbkuAFOvdGvwP5q2SI6YQTHx0CrQlPY7XQpb2JHFk8nTTgSii8PReBVZlelTe8OGciD7kUTMSrR0Fuye4NQ9OM6YjqHzLTOGSIRHfEpMAjM0X78gQaQq/cYdpKO9Zu9eauh6oILRtCGUMjNZ4Pgh90QJ6HiGEeVRdnELrRh00xYqZqC8G0ly13xXTjVdkBUSavXTciLXDqjFgAviXnfcgyeQzrgDl9KXwqk+UxfshprGz8X5vsuhaWRP8clmkkprWz6cMyzbgj4AesVia4m5cE+64l5frBANZzUvy/XAAzRt3UZ/rYypn8MCl1Gk1lsJptW+I5wB1wC7DXWZR4j/L8C0tgoG/dvlpNq6sIBrvulXaNQ3dt7gRwzjT1P/+wmlPTtE2kGdPeDrnPhAv/4TPU1P4YFaKyxMkDLO/ncNLMcDNrAwhoJqyE81HBVtDCXdACujBhhYPUJDnQC08txMUAh4TFjP8vS7sFLw+o1uK7cJhRLa21gMtO1ZYjXqH6JPyhW932ro9J2U4mBaXNnqgGVLfgvI0KkDLqsZx6zegAPlpeBJYfciLAN1nE9O7h0TJfPqPrQkFtD/w7UZERdcGBgj5Dj0YL8sp6c/LlgKAqeC9OyBVBTt+ngnC0ablWf5rrKpZIyWwS22iP7o4dywLXRVSTHE2Xp2hyapzGS81kphR8oo9z18zz6zQBI/zXbfHCtCJ/uoIdC3pA2sWHn58uO+muk8VfMHeItkksmP+6KgtVEPjFOxuLEmPJ64/7J5cxwTGJbPDeqFwqJRjG7qqgCXOG7bYxPsdzZvnwfjZP1TKdqS0FO3w0Bcs6j6DRmn+22iZV0kUDcp7dKVt9B7F4k8Xgix4wUbj2UL0cjkyM1mYMn9BwsEC+DMPUPbcMB+U859LEfuH45Er6oC6CbnEiyPyTY7r5NkK9yo2O/zHn2NNbSdFOsWO9irltz+nA+NlK887v2CpqpUh1kER5WJpr4Ul6jj7pNy90lJQE6WzOHhKbqGCJBcHk6SJoI7aVKU7NQVutUcW6on92buowRXKX9O9t/gpG80JZkXNQfzt112/eMqwRqfTVVKYMBMcFsmxfN1+uELkKfmUiR4lZfRYOt8SrZeWUX2mu50iQ8u2x0UEy4UpX12TfCWj0R3zWM7E4cx6axch0WE5ec7YO8C3Qkk0CcUmf/e2XOJXDmPaeX4OaLYEQ4bBrCP7sYmOkXdm/volV2JcwqPgU18X5DfF3HVpEOA3hQ0dqW9vdqcMdIU88tdvyXI2G29qGbLpgvHpsdxa0v1cZZX1OZo5T1MF2uZ5ikQkvoLp1oueCwEsQOBuyrGjEaxAFPWvO8EGqFQoh/7HSvp4qoBBGj00dti6mxjJc1AaVbdOmrxwlgJD1xGKSCDO0BsQArFlPlatLWwutliifMJmgmwNJ+8bNLZU4g0aNo+QpxupzE87AT+qT500g0KwRbxFhmykA0H9Kl2awisd48DS4Xq1wHTIZKOOZPqfwRo9iSdHN+1IkK9nEW75LwwaG46srlhWMt43zFBCB8Q1AHdaP7FeJaZ0RDAujhbUwQvknP6OCblh6ENcFjv9wvksgKx/nWrISY692AwJReO66MLnu1RLEaX3ZK8jCEBgOlc/D62DmP5e2Culjtkkui18npsrRHlXEwAJQUmDS3Y6+4+DfaKoMcBnQjj4puKIp5FPTOvdktwd0zEY+0uilPVJekzjs1XlumX1gBJ/zRgmozTE4wlXAKqlej2rl3F5ZaOZHgRrs2amUhIWuQC2+JtOasZnJMY3FgkuK8UppxysA6IWWsGow4BAUNIeO9rgbcEx5HbaMGfGtT8T1639lecYAQ9lxU/4XTSK2a3eMNsP8GP5y2dqXDPISo3nydPXKRqluTNnEkggmmGR85kb5+zffpXBBjTfoTuZuIo3DAF8I/ZEj4kucjyu42B8eUB3qyBsGZMF5DlUST3g1ns3o7r9sL1eCSO5rzGKMrDodsdk+ajfcXC/i1ORFtzJ6iodHT8kshlNvMYeBa11Pqsbl5JEV3N06j2se/DILEnAe0u+lL63qbzyt8++R0ULKhgXfeiKk+RZTnQN99+N1biiYtVyD5SqNix5x7sCfKQ7dHtsUhV2RnnYZG1amA1eELa0m5BY6afIonjwmgpKjJrgTW120aSSd3wGqzXDsj0sS600RgrA1qtcILhmcRO2SWtTcn8sMHeOqn0LHgjmMpV8C4ZQhpXBnAob+8EhOlXsgwhqiWr3jeVFA+1UQ9vz2r3fSfPhW8bI2/54VNOh3lGQLYRO+xBAhM3r8hUIxTIENznTWP1c+sln+Yb6bq3HzIdc6h0QtnluoLvIuSr74apAg96kKYc2VfhA7Umnay8Dj/wmaMi5pLwjMjA7rZCOxfxa+Yy/EXxd35ccd4VmURZP1N7AHVaSlGLRe8ZW9XrXP47dfgRxcc5I22IGCZfKN4NKL9uqzL3WqxLv4PtUN4oY43F5Vftk+mldlFgTIJMKeVp4jw2UpOVVVYVTnATwKDePARI+UDVQiTmxJl8tuy1lBnotSjIs6Ped2A63PZDgOgmxl1KZXFF6xPkoZZsg8y5rqirdJmqtFrdtPDeMZzLw4b1ttJOyahz/2XOvdbUCQtq8peex3+CgvaF3HPIM6558aUMtvMhfbUqREx2qMl3WkQJ5i+nSv3QaACOVQNiEojRm5KYmTMbfeRbhYk/PQQTjFOccAwamx9gWTZnnxqi7+Z2Qbql2b8Fg0/CMTTscIY9ltjaGxQi+YRa1D6kMPdowzXipFxBqetuUQXZuZQWQYRZbSF9OZk1rn+00Pj5M2oZEySS+hFxQgM/yDP7QxcEcamq5hZ9M8lP23vhgU7d7meVyLb8dxcucN05+H9uRfX2mWDGVlEJu/3ln/M69XHpUOx1tNdrbElZCt5wuQJ5veNNixFGfDta4/foKEROYHGL5BISWlHgzHYwsaeonAy6dYDJDVyk57PibnOnAEp8WH2+tpF+f2YKEJ0LaYgj7z3AC0VcIYKw5nxxrCvmZll6plFLWtZ1q8YL24e+vlrwo7qq5F+PmcW7P6oA34WbV2SnE66rvOP6Ehu+yX3hkvFOOtIAPEPrmWh0mP2UGsLsC9bJbqnEgHGWb0enr38lVoAlufA4G37dbZRtlXoUkqpPxGucg5jEf2Mjo6yFFhdoCObW01n2f8r8gG5ga+5QJ9slzSQ62WloN5Rkyz51FAEv72psB4FV6AGrrdq+w2aKSrSaE1MEnl9g3nEO6E1NtqqPo7e8wp5SAm4gw+9hUkVK2u2b5WUbf9pqBlfy9VOYMKEC66ZRnnlmbtTZzcsZ8g9jTymy36ZoDKywav3C5kIShEXgSwGKK/9ScFObIHOgKsI0omDtKoa4LtoCT8wTiOkjXkXbe5qcfgPL0itBtd6UpDiq60tbH56Jpd6pVMPPnu8mNp52kas+A0oDB5vtA3p8ySX9KtJPVad5EGA/j0bNlX6BIYGhHbZIxPdfqH0LuxaEX5le1FjY1gGNZ3ZlK9lX1u9Cy+k5x5SkBbHX+qixiV1YtcxMLLLSl1VCA6eUjOqNhrkBt8S0XJ6NcLJ36CNjm8z1zCapVe37oQWHoRr8xSlrCEDkFKbccViucuXs1ugR56VEZy5PiGukaHXxznGsyTLhH7IMPWTIZYVzgw6mj4HKytx93KsFH7527bNVlGusLjOK6Cv/NODrGWIuR+IFa2RF4MUvJN1a4IvG0a1PpasLxKiqo8EWqQuHT8ktt28FtdToBQArFh8c+IHZL9U6Ngmp4vBEoC+6V7xOWBv6yLP4oRIu95xhEWGicq52R+XkISitaE8Wz6dLPHFttZ88nhpM04Q6G+td4KTidk5EbTQTpqrnUflTH40HdpGMzm5sbapY4rF7lEyEwzbT1EdCIadJbbUIAYgY3G7uovMFNUK8/hEY2zRsDkZpFhgxoKCtGKlCFuniOeN+CApdMVQRnNJtkogFK+wfdNjhu0yuhnpCbjYw0ILenG+of7zeD2tbaiCZDS2EzO3Zk1+biV5FpN8PHZb2cgAQ+UqRZUb+Btvx5EpEH5cV6DvRLzcSyp4StZcRW4efkbHHA7QbKiu6Rf2oPoNc6qeBqQkrvOyKgW4z9WA7G2MvvKwv0diNf7CubaY1YHfMLhEhKwAMQyfblUVA7cRjXryTrYpIhuBaZiSetIsnk4NDfllU/CfhaN5YyFR3B3GPl/PsJfbciX9Z/fggX7hSwU1tz6/Q9eBoOh1YDulb9xOexZ26zZUmcwztpVnchoogOvx27+mIegTs8BpH4L8QFjGWDYC7O6+z0BJGlGACwMJikxndQeV2dEZ9rcCgUTP1zbE5pkq7/953DQw/oka3X+WwePEVp7ly9LtWs2UNZQYMNKCRffW+gM6tCbrRux80OW6q0eNs58+xcfyAKaorIrab3khm9notslkTedsYAnozZuuzU/xdzbtjlMefhEh/fO2en48/GsKCnr4UlumqhB3w6x2bYziBQqqqu0pr31/NqGPYrFJ2UHmSeawtlAnvXPjXkl1OQktOQVCYZZwveg99q1ZV25d2KJIeWiRZCX2eGBXE8u/cuTfdwFZUrfWm+ZmsnJNfN0tKRVVwTxt1gUr0tDdvXzWmOuaMcrH8A73hX84kq5cVvfH3p38aElkaY2iVQwzOaclBEO2pHTBPaHfINF4SiBOwTQpl/E9ndXRE6yz+EFQrrZz9UiXgqe87aLXagFtPZrKQW/FIkfe5wzUR+0f8/JphVxtJ0KfoLBP2APbuGiajrkz7WUR5Qfe8vhrKtVg18nNzm2U4Iq7haX2634Z518/xZbF0dUbb8b2cAUOyx2hMmab9W1D95unWyBaXL7APQZig2EP+YJqYNgIc9Z6mCrsGQU3mJpk2hX/UvtntiKFLky5+rTjLxIX6WKeV41QePheNHvWwa5JNUY0N0TRGowjuoEUMSZhfvsnFmZQKjd33OVc1DXOhvl3bqooafjAJMmFZeuZLuuLP9rrQo1IWND1F4QaRiNrTUiJARmS06j0YdV6HuGvf4OC1ont7O80GoAAf9PGWDMiHo/UEaMZhg9ltfEfmvhZ+EKYR09Um4c+9Qa7WM94HBnA9n7BF/+foEdy6+Clgq+1GmrPU2r5ghpSPHAp2FEXdqBLowefoMIgJr9Mee+z35o8rj0kfOdwsZZfqH0oHg3xFWk2PFsuWSqfmnJA5Idkp+ox88EExKnfph9aNeA5bN1e7fedbZUS4bP0V4b7lshVwjWuKq2PztAvi73NPWuHIyLtt//Iyt4fsy4B4h8gGiP2Pp9V1gnGZ99U0DuHZhbP3xhSg0IZlltZVOmv2bLDw4g9wyIHRs5af9kwZyMaNSatQat+a5fTcGITq7v2vTRpD7VkD2f6PDeLmUC/HnyklmFQAbCOYRH9BiC7/fx6y+fKmsg/hvT6cF7WbYPboigmnx4Lf1hqmcTQE9cAdM+WvMQs1mImhGJkpzwiQLM9zvwf276+KQnd+CSpzKsuOcydmRp1c11MRCoobCL45P5jvooxZx6A9+sMVSgbnJ9ymSiHt64/mdLQ4io8b7tX0tCugnpdDDOC19PPlFgqZPfHJ7H7/guOTf8BiZAkj+LVhvYZsBd8QGEeUDpvkKJ7kofhAqJ1FSGniXFLY+kCdwgHO1raMlN96YOAeFGwhfAEw2qlytsHoO2Xosy28pr4ShnZFYMGfZ7JluQQejc2+z7RoR5FT7bqBW8i2C0mbbPu2K672Q+ynEvqzLSZ93ke7uXzdbLZYR689CdJTftdMsev1DWYuaDeUjay759qWFSkCxpHMJCbnNxr20xnbydk0DingtBX6vmbmfBpmuEqElhOaNuEwZlTIh8bHbpvwKuiE2vSAb9yUCr35C24Et5iqqQTIl3inTe7DTKeLfs/zZKO9UP+8H9FHveNnRYaF/pR2wj/7N/dH2R7F9hsHx41RJFRZ0c7i//PSHuKrLl39BJMg87k48DwNvOfhKTtjfdDOhI9fnF/muiOqH+N/JG+Zbfh6V3GLnDaN4QvkJP7i3n8iabW+myId67r4BO04F/G9aSKnJ5Jwy/JZc4y9pHQY+IF4+c28RNSMsfpyYkZ7qJwsl3e1BT6Us0HhQwZ7IZxmF+4rkm2f35c/8xIyNhAxjdGO+qDusNht2IxuQd4aM3mnkIMfjNEBvJ6Np4i6ODDLI4zMiEMa6lNjX/lNF8UeUHpZzDZaUj2hy0x001c0WkLoGLMP5J4uVGft3i9pW/enud+Jw4EnfdJdSCn3OExtUb6J3Q4TpWGnVauAe+87lajmFlmtwf/Rq00PssRQ6BkpXXZzgcuqecPDzZvCC560x9qyt7+2guolVOMud7nQzx2SgrR+u99SE9hsM2NREQjSacQCgbVJhxP7ew9I+I0uIXC6V9po3hfM3Q7FcDEChJ1E2lzN/+jb9LE1xYtA4XJVJGun56nIiuO2G0tAgIONB1pgnllvR3KinXdaeGvwJtgr5JKhb5Zh7nOQc4rCWjyj5eq7XPcRFmBeFT4japJW67JhK1AfKTbJVJCppxvxv5Zx0ImLuijH6ibkbsBlJDGrJYA+NTMCFYm19a2PLvxhMZLSXd0r4UlXkDeMh750WuStDCeSLr73sRrVlEGsj7bpsrHg+begmcMqg8s5m+DNE0/DWluvYBaHEDFiwhzRHhYjISwsVDa2xdbOLSSQb6g5Ot4GPkNpzMBqZCRxRQWm5EhcWYx+HBxazcEDTAfVbz4VBGtbQopQi53jnrNljOSEuw3u3tsTGLHLIFsM1ImNrs1ZULZ1/o5gUfMQVCMivrvEhogcS+VBIAFnFOr72Q1MFho7hIWPIL8bV61z3tP7Wdyao/6n2dMHMrZ9y8FuguRRda144WppFumTI2KPnlnzlOs8WhPEpMxbBWC2ZEkWTkorw5d9SvkX2CKJje83w08FUs0A47Cbq24zofgm0rMS+ID/zHv74XOR5LcUHhASWlXWE1DkrZzA7Jh4uiZP6gazEYE1zKAe+OyyvCTtx5ycdAquDPVk75kcRMawg1MwA+lqxOkPgIOVHYCNf0ppcopmp3waLQKJ2eOPwdfYk+Vdb76DuUtYEJY18bj95AmJzxjlJPAj7kX3KsD5Y3Hfmpylr3kKSRUOpOLToCgHA4rnai0au4glx5/Tm4nMKKmrdBdZGaGQZBdiWKe/4bU5ibpE0j/bWaWAqXle1zzqZc3Lkd9LqsaT0JcJPN1KMLW7hF4hPSzolm3BYmRyShd1ahslmuUtrqFjVWD3n/5LY9yYIewmhCUDLCaHHZQ59iS+Gjd1z77XLY+Gk13cb5dqFY2h6MG6Y2qkW5ID988HhrU+qHBPtZVKV2GyeIW/EcYAaBkqqi1pX0oxwe6JlYrtXdeKsrfjDqOgbvK5WF3WspMiJsDkNnd+ar8XPsKl5djUyGLG7DZaCcFje96ui8j/fZ7Ty+hxSvogEHXEsyB5NNkG0fKpalH2ZdRPSlYalCvSxb3VmfK3EaMSsKuyE1hhX8zSwxkI8S0Lm/s97bmar5aY7uQzstQ0N+u9Op1ardboIzOYJFfhbgspdn3u6QXmmwTxxUwGxdXGdc4caKbuvVha+07woXRVnc35d49ZKt9WzAu2Lbl9CRdpBkrlK8rOpBUUhobfQrYXS2zdHxq2aHSb9spHNBJlKLIzwePw1LTKQ/D0ZU51vAyGZUk8zYUNcQ/nCLdMd1xBTBKZND5JcoOmY2uNAyjgDT0V6pyWCuPjK0XGkl4vuFipj6/5IULRvPio8ae7i/tSiJOYcSiApcB5efAx6taFk+DlvtahJVMrIjrvDmiBI6UbmkCbE9PLdi60ngydTNUnH+HfZ1TQdPX0X+a8jNa6zwmy2VDeVDfdVDaffcpQSbjEG56+B+CTnn9N1dzy1cmo/0TYGu1Uf+duIPyOEqEYr+E1+qt1QTla2rXfWf+PRU5CjIAJGDyfcTUhZJ6iAYA3lsaVWACmwXg9eMabHfGycL4vY0DGyYJHNwWrGPlxrimMgrKefI8KGY15WL/slA+i2tWCEGMXUZbV3U4cPMEQNl3wQ2FI3ecMRDsflWB+TmU1zsekSjju8dn/8u8SRNuA+KxlNetFb2MlyfaWAycYcrEIpfmHGurjfjxyplRQigtHWIEYN11OdqJSNbTn6kGqSZRQhG+IHUEGOqzSHyl2wT75/u9+PVtOaRSlGAu3fY4HAizsoIolyw1qhyF9E5LIcstYqIZZu038yCXwyEaBFAset5mp5x795lIkgU7kTs0Pg6UNI5nTQA9uAU4zyCj2vrgCFLAwSOodpfVeoTTzMoRssTQr5UW60p1hOvafIb78i8dn0P3sw2/orUYIOFHAj6UaKndzI2UQYnomSO5ESH2g0qo9iOszN2/fZacFEnSV1HpL5czSH6h/6Un/mj16WtyTLKob6LXHtdT3BLpwdK0K6Jj5GiByWUvTozyqch7H24/JyR2c1Q4U+pr7cIdwOtL3hL4b0++jzW3rqRSFSHkqz/23aL1veQl4/tVywNELbqRiV1onXEe4NAU8YqsOUgUdlD1i+NwvMpzwHtZmsYyim3tdiqFA7W4nHx7OWSB9EppFa1GrdES2wspzD8AN+TRdXhTQfzxsXLhp5sdOpIkjtTWB/dfzcBk+FZiEIR5trwMSYtwz8e3b4a2OD8Kcq4/WYFgkjI1/Apgd//0vnRHtCaDBYK3EOcPKMEon9KAxl/si7XpYshAUNjLuflplYkbn+eK1arQStXxIGf0NCA4Au/yzCR2gCKXZMx2pqY0w23YYGpGD37CL8upq8spWjVW10QjGAs01fRqrwEEhESzyEPH0HM/G8poxOpgQynbVPIO2VVhpYmm6ev/S0WMcCoFa34+/Qpwsg5FD9tT4fXeCCgCcanZYiNxkTDl2U/OI/sNL73HQ8/xmn9f4bk4poVMmBpUocxAVJEK8ELKbLO2YdtzPjYWFfmsZvIs4EGDEaqtZ1f5D4mQasF1bJQMLSgJsRaqzVQbC8sZEkwEg3FoSb6s2I6m0FGMewgXtb2qhSGcMgzbD+afDd5uO+iRhbuLLnHdJmVIHe64zq2pRaVdnY4pcmujZuJNJCSGAgK4qzLUG2lp19Wq+xqxiHR1Ck1V2lsW2pDFMEPP8mDVob11Bv1FEQRP/fwtQQP4R3dlUyToIL585TGJQxfGhTQbmvT664EwyewKByagIMK0viWSGRJDrRw1avLbRHFtE7uBK0EtMIM5DEW2f5ijOCZ4daYY6FFNv77PLmldoGyROK+WBxH+0nKw7AHa2CcLr1Gxm/bTo6jl9JeCqmnBogkEjXG5WjOaCFpyGi0e48uu4vsU2cPwEIp3W3WYrzuQc+6en0wO9BJLNg13weWd4HzXfgUVXay+U18UEi6h12m2hQc92bajc5pTiDbWbGY5scPeGo24U3qFABosJPp9ovAk/2rFoNXmTL6N+IiImK/TvTKPKAze9KyVaYmRS79eTd2Fdiq/TavFRQv7DqcyxbQjJbz6Bw7aJOm5dkNL7p7kYzWxQ8I9kuphZqfS8t3MIDiMOtZh8I20CWi5Ii1nqmB7Y4KtYLFqdMXEltQ75BqU4am6QpyT8vdL/DsDq7ZXP6+9rQ9OWI2i9p0uYUJD0Z5N0h7+kPhVc+OmuzkKpGtMGf1zadIUqqeku8w7LT4rl7ujXxrlHLVzCQzROVjClt93dQvRdcLVrqan4PY5lkr18G3vOy7VJ773ZAAy0lh+gYagkaUOnhfP5TpVXr67fNxnWK2ZFQ8cAmTgzE5njD7lCm9zd3rxgkqtEEn2aZ5MPRRmqpq5rKlKRGntiFzpszXDaaqY724v13gD8Pwa1jBDG3pbIs4THpESxmeuNYSEmdBbcH8u7nDCpC0rQTXasPii8rYwxWVh+svlsMVk6oPhMx8nUCSp94u2Uo80Aw1dwLo3gd3vVATGaOOgTqHs3hQgYwHYdhS2PRpJpgtxVMGgfmgtIhh7WluKFwO7trICpx8QnfRqaUV1vvL9eAhZUH37n7r2RdkG8nLEM+r293G0mpQT6IpcxbCoeL5nUj15ezG4VkcTJ9atUxSZMm86egGPPQLOOelBoMaRFDPq/K0r2BEg0DZcNl9ANVKwXnqtQRUHErxQoIydsmBKVrmXe+C9QhICad0N4KUxIGb3bTEv070foVrszoPCXivG6Io/cLJt2OfNs9/8QCQsE4F5FJOlMA5nU1JirYzw43rA6QTIC2PJ5/uRtfSnrzNYxhFn6BTjJvoyZQENlBAfIsO+BLYR9/syMr6LgxB/4u+EEaN2EzPL3ETzBrdJuSqr+bwAbsA5h7ypaIdKo8m993WyJDsGoAOf4RpofOk/lfLn2uvuEdxIHN6FTY0oQFxyKJVfh1Dk2ksiYH4KuYzjLRq2RQg/JZeFFzS5EQ5Dae/+nDviOH4h9rzaCmlxQI0VPxrd+BCKJYdMzbb+vn9mbI4OH0qqFJmDVfZoCYzyUn8WmxnIpGNxzIFa5+JlBnjV9yy4C0+XvJxBn6y0uQUwmbNsD+fQQvgxJPGzPmGXb7kr/XdcrYIbciO+GR9cj3OtIQ28WoFjbePrnccYIj2bSU1jwp/ez+lDfZEvBJ0Z0MamdzcL24ChWC2wat27Z+FITSDT0sQ7wkvC0XmcoTSDLL2OMp7GoCGyZTzRWu1tlesYEnlGrwEifCRsu+H9BqJDJz9q5mSX30PfgW62+rMqEr+zM3pbQzDAh7Jy4hHX3to8IVWNCauWwwdx8pyU8iLc87d7lVnDwzlUPPZp/jvoBCrNwOQYL52GHKkzevKqhiXSZ9hZYeGc74FP92tstCBHTb5DpIld/uIZLgu0OGa4GNgkbO3ES0Y/YCq56mIWxDA3qmwYW5th/U/QnSWkz2yPeOgL+67LVjYXNwtj4LXBEMuaqPMuPKDkOOiLyfMb3suKTttkEZF7nieb6S/JKQbtcn/lsOjjJP24fQtk/jEcHbNd/nBNdDM0ioYMtptjh6zUQcPZXZvwN2SLrBGP6DUOizndS84ljhJLVQ7NPQKckMHa6Uwr16MKSEyunEb+TY1LyUJyxR3pQKC4Kx3nwSR//8eGG9wNP54gXGhncTtGy8p9IqL39c9gRzYJf92/6m09PMyNer5TKeGLd1LPa9HZov0B1Xe9AyWzJmpyRycuC/qii25UFK2z04DdpimWkW+ffCHWgUrHW9FVFJHDjAhRlHnZPvo2TKeLmU5m5h/1pks15TmRQr4Kis8lW+x9I3tU6Iaakiva0MLOzOkzf4irauqieQaGMVuKOha7NcK8v+xJ7JZHekKz9mcAf69FF02n33Knlt/LLa9rKUZpmtoEaWHbEaYGMJ9G1N4OiPqWN+fZDmkbMIJsnSVDeOS6Y5pD2Da0Y5nYXkh5uDNSA8pptFF6VKdBOZH3H94NMlpAhyTcH7DC2mjHMF0nn6mg05lnS7CtGOqFYToc+gmQyW2aZz7r1l8UQ2kaT0uazzUGLrG187bAfgnO29eOVytLg0mClahiR40RAtmKNClRt2ppRHZeoZAUvEK4zw/uPXBazzw4GDOwDAG2JTy90vsDdHl+Df7juToU0hAxu5gPX/oNYRXtPKZrRgIAyVM1M1a9UqRY1ummX84IiBImnSgvSXjcq/rdcitCjrFSadDCFmvfHtFcq4YKPFUGdm5TJGpT8udLSkfyBBaigifnNRclReo09rLMcGUZulW/sYfl1Dih7nKtU7CmP5+r76WgZwcHtgiAvf8WgqAKzR3o/7HqfyqDYn5zNJ5IZeQ0B04+yqobQSUk6FYeVoVDlnJkS4rUqtRNdmpL8xNLh8HxSaC0WPrp9kBuOjZSm16+VV2QUAMfhyADJsnMONIBLNMvtermeQtytZO4kDk4crn2EvNS8je+AauZ8fTDPdP673RJjFOJzRnh7FPSb2SPTbwOJyQlNGaLz8WqdMYaYVAtRhyJKM73gOrwnAOBl/E1s0x33uwx/n89be2tCpEumv8unbxLZe7bQWU4ifEj+bxnb6y3WHM9Z/XU1WERayfAOv/YSpM3ZT2X7HMSRaxfIA6nWrc9SARUO6y2qkNMWChWqTRW4uwlBKtPPl8hTzcI6w7SDEHwzPEyGLN5Nf0DeyRg3R3hTODo739tf/H9/Obb4Zq4zZi/dTH9/BE37Jmco+Tk/AFCu1jwwELYhjZ91iCBeYIpxxqtZxzh8xLT1t/q6VkdoRXllAFYUJ+aKCUp1O5UTeNkNHoMYfXQrH/EcVH43TPENhrXNTa5wM5xRCFE+6xC4tjTaRnAF5r9SS8EmFf6vp7d5nuoaNq5nbLYVYwFbaoGEx1zZj1ppMyci94MmyIgMqjC4i/eNbhTLSRG7CJXvXNKYJd9a8UudZXGjQDjyuhYmoFve9qBq2SShrvmy7smdKXsMIISYz/6PDFEkyVcChDB/0k4qXmjtQtEd688CaUy67/0MWA4c5ySYgAN0c3DEWmoECgMCdvVs0oXqh7rvx6i0hQ+HHCQ5vlThJY8rWp1dgFxoqAk+uwHcaF0E1oet818lNyPHkpwE1DouwpScnBGl4eePhos+2GR1TMbOukiZNqMW4s+GEX75hNPqGNAaNTVPVx6zqTymA5UrwQvkbFBdOnTILx8y17RlIiRFRzPtzMSX43qtkytyPA/y3tBSaA2BUlD6S/B3HqjOrkfZ/LL+/Y0wOOCwFh/XXLU7nJtYyobqmlYT4yf8q5n0k8WTYRCAj+CePQ8FaysGcbkeBAblDAN4ZhemSNu/+53SDMQE23yLbVRTo6tyB0sGwnmP41+eTJ5c5xVEnc3wubJsJ5bGGtrrVQUsp9LR1Xqi2tWXx2SpF8EvBOcVdYB66JL7PqdLzduPDHQvQ2s7s5BBEbhtkvA5djt6z8LEIHyGpAJTQFqMk1cM9FcOiJ15yioFjxPPvp4Kv2z3OJ/i82WvajaEHLOXBS1Czco5zEayaMN+MaAvZek3scV8qEb6EVTfREUFKhaEb3eAeI4pLhqIner7kOAr6gJjo6nHM7e1CVKNaJ6E3YblqQCV2ca4fVrgEXbfmLldWvKHyXC4lsFnjX/bPi0Bg92CbtnDpf7BOFIKQ/SUHa5l6XhVZLaPehllwMQpYhTm1WATXHB1R3hOKDjFJzJtBlgprGRGRFoHT4G3B7TguzNzu+q/C/qZDekziO5AdkJSbeXCetGkhsZOn7KIzPS1pv1CtrWqZ+8fh0IvnU48ZA7b5Kc0+CILR6rDX4UQDMBQvip/re9TX9QNmw2sZClMuiWb3A3b7hgGiOB4bWnV5me1WjnJFNo/eqtK78Ab3CMxR78LAJowSoox+Z7r8iBoMG3A35XgihFzqT+xubW1Tcxefl5TChjWdEibFK6G3sw0cSdolxFqcS/iGxmm1AlfkF3JYqnBRlr2NhTnYtXX5y0t2nSiUGyMt5dPTV4XrVduRTrczVKzGxl9UQFC/dQenHagHxM1zFHxxtPUCkQapNfEBx78Ovoq0Bc3pp2DVmn1hDScPffO/O8pb+4MY39c4wTaVj8WlC0eoda7b9fRXS4oCs77QU/LEjSd6EyTunastprw2IfMceC3qcbWRq5Agedian+JgaIBvXGkwHPnGF2x114n8tACLQVSIyZiNWqgHEdppu776G/qukqPEu0zCLpIWgKoI+ooRSIjCtn4fNZ1NwMsYnIbGS//PGz6qnqrljhAYY9KYj5O8mnNsyGnXY3GxbG1ZQbrGtiMoQYEI7IRFgSYZMaqBNaplXQQBjSzGw2IWOq7knYJRRSeB2XH3et6H5FlfWT0NC+QoFfcyigBmW2sNeQY7Qirb3HsSyT4q6AHzbOHMS7JCSkLkKdcRmDZvYl3Bl8Cr/VHo+hMRn3MsERQ69zLCR6UIVQ2/d57KtHzGvOimcVEvUxQGvKiakj49prN+YoARX6NmgK5IyzfRx4HdtqIaGs85J6uhsQ7S6HE1vofTQkPkoJJgCMAy06GUQhGYQvqcICut29hkIdzJTBcuS0bsLWT08CAQni2zhpci6On7ohj7lB+sejXa5MRSMxoKs6WAxHi60v21d9116RDnmGj76D74cBI5vyWAmYFmZGVomHkS1leF/RrDwwTaKDUy2UaBxLAt9O3PSDNMzT0ItHz3R17YLA83MObRADlG4Vc3xggVEKbkSfwUXfvebfYRKxiUg6J7tweuC37/oJUxTyIfSI0/UljDKllYzdeFbKFKzafR8vd4dCf4kBBsDRl70MRAleCBdA2Pf9J7onVOIs8i0Zgp/sJA5J8abj+vYZr/Pas9ymTFukef5RZDRpcBBK6ahkHHUjS5Jpx4VQrQiI3Mn0edpMYhaoG/Kkcdpq07Ctpp+s8xlbFISVcBFeFzpMC3P8jSYQ=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dJY2OMwf8mgoXWrd8S3Dpr8K8e5QDX9l/GOurOelpINCJLA3EC4Lci7vMC6fiShJ1UHdlzzodfzXVhfa9I7ytn+ieDLYpfDBOeOhoqIzITrz654ZFQ01+PRPEOo2Lr3ZTLIAFbu6GEPxmEsCjOq6MIM9YnzWCflMn9OrSbclpSmQmXBD/OeCDzNnXqxmS7IFTUs3fC5MpiOUTe3TXMEh0nt0B/yEjmOKukq4UV0H7eT3JBrqt+aIABGon5IBTXbBHJEMzU84PMCFdwRcs/nlOqa8vgu4zv8OL2OwvO4oiyANUqcu9xAAVKovKI2feqG5T98rtU5jKrxFcfotoQC2csfuME5Np4vH8wkPWYBhyNuez9cuQJM+IocTqiAGpqCU3ckqKgrqlfEtRt/nz7m9iJ9hqemW46QnnFiaiqsfKS7dnd4px1utO4cP6SJzx1tiWU0FzjFb3obybJOR1TFGbXZ4GrHpTq5oWZC9wBuXjsrX/YB4tfVckZyLLsMLlA2GpdSNzev5eXG6V7TZSqJMMRHMGdz54jJcUjU+dWtHsJOMkx8YQkA/KeayoQ64TcxISY6a/yVOifN27vFLLtXTYwssiG1W6y9aZBBeXKsbJRXSEWmkBl8j3A6NtgYndvsHdhKHBaOaiS4zJUUiB4q5Wdwjm1MoJRyQn2uFDpG6IvDSDpEhhNOAeafP4ztgXiOmasqMe+3B/fVUhjLHDvgXFRBaLmmO7T3VUMNlO0PmqeYr4/84DYSGBk+KRw3uB3C3cyOojfse221SvZDGjm+WBFP/QsBCrlk2Ud9gDVoiHYAHCK4XJWk+rDTWFUpqkfAZHPlQGYvtkrq7mbc7Sija4LRk5o2DqqLS+w+KHerCwZn4Zq+E2SDYgxitbHqyLfCiGWCRSC49qANSuFr2EprLraJ4AnJu5lVU+kS5lbVEYm2z+ifyJNMOCO8AdIm1mxTOZ+rJrFK0a/XJxfiA6zDrWGbXSQ2OF0pCQ298KrztE+StCwg9qBQF1ze84nnjrlxclUPFVnzUqEh36LE/oZb4kKVfTUPUVMpHB+ZKel1yl9PwZrd5GnaiUtQ8/e7RyBrq3/sJ8mJH641fXNo75xd24Vj0tyJw8d5gqjbz+MuV2MxM7+ognbK95hJ1vaCJbz8eZV6AVG00WWsSWPNpCYl+NedkeXUZxwdCBmVtyjD3d6jJ0T3UppAvyRlvHA2gyyaeRCFXKZnq6xG5E3vif9sIDIGURDSqfbtu1jftk4HMFRw76RiOBa03oZ7WkxpQWD7jY59afy8A0dJipAU9MpzFfDw3rQfJ2u2wnKlZxN2ZLM+eaemIFgntpcc2qvfWMrGPH7E4ZB/YcdGT5unZFxuT3deyx/eGza8LjvOOjIWiGctcG6pERTv+un74/a8qKNpPHTRjXeBp1d+O1Pr9rr+P8jvCYSV+3CkrTYzyr8hoxBBDXEmLz/0TLLYRT3uf6i+ap4jdl1afYyD27kDBUkXQXEokMY7errOj/M/oFOWOhW5S1VXMm5GcV3JitSjieR4PKAo1bdxdhR4/3hhG5x4qnPt0z+gIq/FH1/fuD/1iwXnZ4nbHALVOkIyJiJdLkAD7wesGnVdb/RYYZ1V/MHqc4dUvP/Zb9f8/dPA7pKR3qu0N+oLW3MotSjN6qDGf/OddQ3t8rp4POQEPJZ5hGnEPljSQAWR4nBTlPDw5w50MiLoGFHJeTcC0stVW5XsnlakK50JrK+P1RhKZAxvt5jy+D/k34nnawnzrfh7X+gdM8EstYlOkfyvkYzYYRqbZG0p+lYyo7ZtNlLQT73tVvlxfDdSYTclUDjF75heA8b6G9gp6Y3rFmkHKPon4Zpyj0I09PuTgtHgqrd3gsvcNToG0irmYC7PrZow7pKUEjc5yYQhFGFz1mgzx+G9lLWkrGPCo76XbCdXGtlSRXOoR+PjBbRSahr+fYobh3PLArv66/0n73B1HZwaToYORg4eoBWLgruOyTIA3sZ1piZA2v6Ur40ISvIOSrVGA6FOJTlbQqTucw+JV4OJkRNCa+ZbTi7l+JgGGBqHbWRTPvqyXZrX4c0unwR3XuNs5yA0rk4a+OBaYYOlIz5Eme1O55zJ2a9euZN1ufa7X42IiATYTsrkHm4iGu0CHC8iOym9VArbEvVCOuo7XyVO+vKlhZyKiR1/xpbj0W/l375/glmFyGy5u4RrdVBnj1GLhcPGOVGlsNhB8GU4Y32yk2+AUJVEES2Z6e8bAsNNOwzqt2IYMTXuoptW+tosjuBBPkqQhvWcl4MWoJ/+UCc84ciLutkqBlGNFfu3ASP93Vm7KNhLk4/Hswx9rHdJ4NLZjnsgvvec1yZQkct3HUPHrd695FIHEUdrZcUSEz+FhFR9jWPEfaa3hG1BCHJjAevTUSJ4qYQFWfGKJ4mIPI2RWmJa0vFo+kedkPCvQM6VNMl//27PWqcxDjNz18Ry2gmZQweU3+rw6vcut7702bkLEhSWcZ3EWmWsJqJfth4WkqcsM52eOOFYgXjSs7Aos0pX0/cJ0u/KBQunf+SYgzwPyChUaMOk6lWPYW6Ec2VdPQGtL/z27fgCIwLFHwBeVi6zSk9HAl0xjkkDr1+upsoBEekAa39x6Rc0QqEWPF4RSMQAqCGxF7n1yxO6Fr9/K7tGy2gYhs6kGXNeQVXuu3OktjHlHlU+IQj3Z8xmQTZv3JWEo4hj5qfCGWpaqWoRpfsX4WPYTe1izLSSon5jXMKcf+grmL1uBmROFSOgnAKY4poHBNZLXd3WwsQJioyfa/s6hhEfRiB4IbUfxRAmgxn+vLmdmcJHENao889ghkdnKpFuryYmhdCxAJp8GMqMKXBzgnuhAoqsvyQcIIduV71nXCB1C4CytGbp8SCv6lyuMGvw65whbHjDmXGFyBfUH5LfYoyeNYkUN2LCS4WkWQGvaTNm8KvyQhxRJIV/GI/lk0gr92upugzbfXBDtDIRYmA2XT/SNwWqjF2+3iqg3conXewE0LRzPGxM4jqUOjZ4B7M1rJKyn7PW2D51bu3APRNISrf6BH5aGl0owsrEqBairHtzxE543CjfDW4SesWAHmw43KTafTNOxMml9AJNNjXKZ7xdy0Q2lJ9pqzjVYkmry3sJ3UrPby7XH5r5sAaFOkHZmaHvLI//OrtyYq5WIUb8+Ye5GWlmLgnXF1jSPhOpcYKRgdyIwEUpMiFaYQFcjYCZeXAvp+sR2G7d/GUxFrMMaWQGG0MO2x7zxLO3FRMqgkjeRInyu9UBuJGydG41+D+n/bz2/A6bDcvsJ6Zq3tgZWhLA7uRYxE/XhWme7f9lYqtu0KuXpb4Mj1GN7VyeLRdx8ZbqZuUs2jZK6AnQ1XJk+cJcIZaz8gW0AuqCHOfbk0R1M2mIQ841PzvOV7X6jETyTiTGL9YvuwQcLGwJrfj9gm4CVDyP50xZjPyfdbqjl0BiurGLDS/SglGU83WygAutvGswd0tbm8GEIiiMHrcZJNe6hTVZxnmEjkxgCeQoY+nz+moClZCLg2yEz3QpKA0nV7YsrNZ0wS35f/bkcKl2bTeCKjmTDNVmGl6z1r1qVYZf1iNkQvWeR/D3kp8Ud5ni+aUKvgeq05vNCml0ohRo6PbF6dUuVqWHLCP8NTvnX2MQY41Okdr83R1o/w6ZpSsgWh29QjEiUXB7KF30uxpeBEFs2gDDcGgwlNafa6pwp1ybeDhV0nSkhPSgGCkvKDCgVTfZbU1WhYIXHCdTxZgCVXs4KjQNlKj2BHtpbeS20Y6yOQOJwas6axIIJbTLlKJ8ijI1ow7TuTLCazzsLbJ7UFGIete2e9DDqn7YykneVY2N2M12il8jERlOpr0m8p5EDW8nt1HXoM3zyp9K0c+Kw01G70xVHEmpjcz95DzgwnebjJnKEvGlLeZMxekZSQDLM+eoF2vQrfhAOQazpBu8XFn5yVpH3k1ziILE+cyPJed3qmZUBR3r0Qaz3uWUFnEZuvRdXhCfOX+dyLeyx0lrHPtnhZodV3IQl0RrRfINNfxf+DcVmlJfldpAcSBkXGLKtFZ+XKGW0H+/I+oRUBj+to3y5V5V/RqtoXz87GjsQEFYoZRk+znAxiFMC/oyNutrCxbco37+4PbTN6OOHTfrVHMYrRDk3Z/Cwa5Ip9khuI04pSbHEZ9JJVYFw/F3q0/1Ipej4L9Enax+BUiLRiSLlpFzAC0l3RBWAXlrr58DjPnv8opDw1t5g4VCtUCAeMikB7VJ0XqkeNZ7qZM82gdMGDz1RvwkaQ0tyjHbDkpuRdOccE+M2xa5+HWk2B5SqksnG0rqxX+oNB7YsfItdEJpLTIC9v1cW7ZxlWQywkocOLndhnWc8JL8acxb/Qx6cpbh/GHdwsbTgQW87p2Pjt65U8hC3/xuQqL/S/qVA1lRn1xiYQTKPKI/X0gnK6E5fzoqiy/8eB9XxrNYxhXK1sJZwobLTFiC5kap0bx++2mdcRZNja21+4mhuyLn0vQMXCaM8cHIg7X1MYyNY0DzssTFzONgqPlSy9EfnsPBtOnPBm+cPf9WqA4HOjC3ane7nZ+N5/+Rgivw71zR31WeHum9XNeJjryyn49PAAmv7ixwR7raxxck2T+SbPnFkHh4KF4tmsFjpFNYc0TDDjsqKvB3tNsjbVJjf4FK+mZiaOcthh4S3maaXua1q8B1TeWr+pDBDYgkDEQ/CX5YmJWyaG5Rtw/e6nUssS7KjKWv2ejHVnbkP1IotOAGf8B01ApCEsvKti4eeuH67dcmjOsQySvV4jFLrVhJF0IaUt4AzreCOQFKahEGnDnMfHC1nIYiOrDJcFT0CTZ/lNdHFHXeoITvJuIx5iXKTEfbdGnOogK+sI85ui/VRTTFnnuK61X7vR3/RmQkVFQkFaEUHqDpLYQ4fnR8NV7rQNHGWjLXXKnY+qXRDDmM7q3tW6DIn8xkEQhAwX48Gpzmcd/gkyAAzTxgRWcu9yqKSeYxSNhHKUsSpghYObRlHqmpENIueSMYkmtGBLIkzUIMi+JpVSN5kUBOiCgkSAIEMdA15CPmEIjbkaXis4oACJQz7Zkk/R7IVoteWPJOc+g364mg4Jh5FMnwcNWXY9EcwXongNsMX32UHDdGHi3lujDXhmTiTsHxSarMRacoMTcvGW8HzAicBXXltl7UE0nQnbjdtKEk0ftINr47qhIgBP0ghlyomhr2Ruy9vl7hF8pRJ/EHbr+4M6/FXZ3j1iVYCtYrjYQu2vqAfjk3qU/dK66xLVOYEB4l7hS1lRILzU9/ZCPadonZFR0/FwfCB4KJcTfTggF/Zl0klVING0m9SY8DpwhXZngqcqL3E3QrE32XD9MKscoH4r2rYBxl5YPN5dyxN/dYeChB4uuwnFvZpLpPKWTP0asNV112Hl/lI3unieLuLoPn6+oVQk6AcPVc2SBiL5otKIZOhgqpBKyd5+Edni5p8+WS8hTNqGdJYW7wxV9+4TfxvryfZTZuAYaLlsbImCNGYyWMc/Cxpn47zAi3tDS3sawGlQsK7g3hdCwk+Si+uwSy5O/xN4w663a5a66qMRZr36X8kr96hmqEWfReehlGwKzdYLj85UXQhWwzosiBuu2vkm4s2m5FXgOPBHxPYDV9Ox1PWa+PcOio7ENdc/skW0Di0OeuMs1DwOsqm/14Ha5z9tzwIFrfGEny4sDTPeo8X4V7MECW3MAjjAsXRqr2nIgRZGuLPMtVTqKkB5heOyoDDbdooMqFfuDdBO7PoFh0xDWsPOetCA1bclXVZ3n4b5bXxwlFuKvrMmEYOj+ZZ95F5f11I+qjrd3uHGJ0ZPfcayJH4bavMB4KRelSk9axeyrCHBdeMm5Uhy3R/1ZoME7CZA5YENdnCCfBcWLSqG7KuwQr1Xm478RPygTDIZ7eep73TcVAk6FyQTm8EdQzQXeguXmr47K/6rqhb/Chfbj2/co525JzBVlQAC1It6mIIJILVxZqK76GJ/WwTgAn/k2nKl/UQcooqAleM9weJq26EuVk3kXhp+sSF1p4t+m1lYjcLOILxJN4aueXry3FCqNsmzH/o3kmqa0lxAW3+9V4GeKLjT8KKk9J1kWfuXabHVZMRjnVPSRIaYmoHqxWQld9a9NuBJvj8IH1Ox7E6X8r9EL7UGKtnlA5SpRWZUHWKSFxLhCt4fmzwGGVRmHU+DkqQiOfFVaxv+rCfIsD9lWcJgNweOVrJX8oIkVPstl2kADX8i1pBOfqe24gf7VtVSW9x+gMIletOCSaNFaGtb5WTsE7kKy+Tn0wZqRc/9ElS2Qpqb7EKqH0kaqpdwTTcbQnbSnPJ8y5sxDij5HWPgOM7jl+Z/Ym9AP4YBUNI1h2MJnGI8q0p/AEGQ17Z9/p87Jp+RnUvneItp4LUSJ4oN9OrCw6QV8HcanMOCOufFdkKXIrBZGSdCVwWyKxbg22UaMHeVk4cNBSPwDNMJLTwua4XHKAsxpDAmjCuIDQdey0tK7TC1EcCy+V8ICOGpanr5umsEvOqBvNt167RhqLhJ3jZ96eWJf11T0mY+ws9gtXEhwMZrbC3rjzMLOUIB5QD8xoGzV3cAEONK/u6JDkJHHVSfrs8SKtX8qw/srigbAIiSxh2gd2hzBjI3Ra2WMkQyHiD3UmaXf4+maladWqHAzsLj95Aw2fGsAoD7dXU8p6JdBxCYnfI1te3v7Ouz2soV+t0CYi764nZh34cLbwDzvRtBsTZcT5B/E8hpJABPALRLCHjeY7cHKtGfnZ7vUzNDxlO3J+zdz15BPM1YjaHxuVtr8+n1e4rjwdk2kiFfuCPYA+twLKFXT5NfNZDGgfB5aWMwU6kovFjwKW5JriYU9xwlCI19MDNGxgj6UdFHbd5SXLcrAebvIh0o3dgtJpPWR5v21b6640pg6sDZOEW98RhNLtsjFxuaYA972y0dTBvQIvOnFbewumH4uGvmpS6scO2CfhoZ9dxohi3GFl2CoJqdvGWJlYnSiW+WCzG+O1E8j7wnFtHpZWV7eaSs3EnsgulElPB7VQtP8SSCJSbRPfs1PrkD57lMs8h5pZBnJ7jLQE2ll7D24ktSz82Ktk/QN4omaoXNmym/4lYGokSzjuZxUQ8jffI56YZNEXIZZKcnQDQ3ymzuNmJ3lq5uRnqVoY5saYxjt8hV5etNeBI7jTdBedK/pglRtGnVE/emvW5IoQhLgLtJgG2V3m5gPOrNYGh05XqlSU8FDeD0/q6QdpnlfOJzo9CFdeVHn8J/DTIgaFlMqLYaofeTBkHn2psMi9hOyqyAAw2b7r78BomZTKVubSZKyD2DgS6cHrWO9h1WovW0EDk7S1k3E1xGqjW5HrgU9Fs/qCmbbjwl24GQeqa3bwJeuewX16qQbPoLGTArBiuSV/qBlY56TyYfUY9izt8bP8dGDcY8Ng1DAAlYPEMzrBYIxX+4R9pYCLbPMcy74VOI97ukdFv1+ZHg3PNSywCXjP1RIcS29tFUenMc6EFeuiYGvlJ+6xhYngjxl4q5E9htIG8nHpshm2q0d3BwA5MxBvQMFAHOiwfLw80Rlhaa6pyavuTsbZ5A8UdzPjn8yFORhh1XwF7jxosIhR8q2d/fML/tIGwDh36tNkgAWWDpgZYt6DcvI/zLCmzpcj1uQOHRjFO/aNQdpi3mxQs+zvomtfFmvwingxnb2AiKjVTQ7t8QGITG1tQ59w1vYGfqdq/BqlPbHi2s7pvzKYX4I3NePOsQSgtAXi/DM2ZB/45TTomFo4bhbSmGOfKHrr3gTVQpXfJLJSomCeuo+5ErDhElkm9iEHZtCJ5NDavI2QSkJTId6oCnHDRLHaAwra3gVC5CnpieEWRt+WMP0vgM2Sw82I+CgDZwJPZZWIMkWm53fHj3oBwlI5sD6RXzvw9LVUvqnG364SXAdDkPNng5iD85i3twWeB6LDxMNTGeBhxgLZmzx2+p9KX/EclGn2G1ZPvE1Q+bIb9kJajNPQFvy7GDnoAeBLtDZymQ0+hF8R0e+0+ervfvY2ilBo735890aPuryUwzyp7of2IZOXSrKOcoTlPuIj41YnxsdIwIcE6XMMcw4pHND072//u/Xd7Mz/MEVgZJfnrelSOahFMIh95SM8pqMjSNP/dJfmxV7qX54SKW+G6jc9QIizwoi/CDThvctHZyelglTj4bWZq/DU451i1+z15hCrv7BJGPJIwfVSTexkcuhYtjc5vUXhyVd3zg9Z5fI33jOTP75JRAyBS9Nkw7WCTqXfKRu9+OE1M5b7oLT/Cg71/RdTIr2kLzRBQC2kgWOXvXWQBY997ugqSki8eWx5yLt0OAbYchVLBt55cgmn421qnaOYP0DzNY1Jc04iyCq6xUEnGRio1uZMRLs3ibYV6MF4NxHR7jGqxaSAcq3Bh9+j2l8K7t2Z1VlPNZqjRgi+fL6NgucizYxPslDAp5/nWnsPjy+K7zq2p/ws8pIKroDvfa8GI5MLXw7CP6qBkHMznJs6T+vLXzag4nJxKrA0rR9CfaywXJ2c6gU8pils9PVKo98iBLuBxqOQ+Ht/7NmehyqB87QSh1dXcyne8vz0YOJVwhGjwWbfa/DOfdAZ71I5DgLe4jeRt4kttkkJ68mJyJST0bvnw1cCYv0a13k3zDKjiMVNupKKKnw0fn4vc4rt1+o8c3AM0Spf0J2pQB8YmKU1fnSCgP9RGg3DeP0ZNMTsL1r/gKDdDS/1AW28RS7BJol16XrlxsvE0Nyte+SSXM4KcGfJMarxxL9dgrak03gHx4ouysX8RkG1C2s51YvlKsN5CPWegR5Egl7Yesw3zEZW39oLOjPZBPjnfAvVts9w1ogEPpyV+RivdLBTPlCvvKHCsngybH1Tos1+AIOjzawoDSUPohOEbShWXYonzBNsyT3Cw35Je3xTrhVz903CHZPiY/0lo9jJkWzxL35/S1pL7w/jOx3NgzjxTVtd8Ki2u59N3UCsFRMvLMIyiapRBQA7YFeeBOUmo6ZeL3WUWKdYafJFYf2TuPtjtTdX9VH8jPxaSSLCqLMSxSmy2qk1pR3lPgCEMEY5zM1b/2zLmVkWmp6H0+C7cDvJJZBPhdOAnuDNzbEW7T0jsTLrC6n7QOlGTUcgRDTpKnNYIJ+9T0EJZZYxcgfeiH6wdX3dGA/1p+73lYy8FWgZWMmaOW6Nzc6YAXHdnqMBOck1IpmtuBWs+GmLlbC/p3ivT1HT1/ki766biJPVzaJx9j9GzdSF/nLy9pc97FXro6IcLIg3UNv8LvceTa1K3Gyr+GpGuV58MTB/zqEqXu1hPrATFuGLe26hgMKdrO+DTsq4hNqbPVQ5uokRxcaSTFUjyJ1L8Yc1NIcfddkrpoImQx4tNtzBqI+x9CzU+lf0C2HTTIEZ8a/Wj3BlWg2jgGhcBMoGXhDKaZYsMWkIufCKBWODaW/ZZSfcmNEIlmnLV5CnUwOEFWNhmJnSSRD5UkwA/HN0Wc69H36TVInJibFhDG+P1llnQYdnrluJEZqA1E9cbcZVpOWC34eqlbkNbz6iQNSLXabSJKfWVlae3VOkBLNrWIRIt3gnvIdP7bz6+u/ydrRGVNjtvrfM1gNt+AxE3z8/EQcrHFmfQ3MKYEu9Hmc33T3GFcr6oLLujduKFdzkoxdRJ/Eq+McGkMcsG6vAEVqDwi6uEyJaJW26RYwJyXczd9qwU78AXL8HxKf4OooqEq2JZVxdG5yQUddh01KKvyOnEXn9T0E9qsPgNQVqoMXrIcZSYpST7dNvSbFtut3aj02S+D7s9QN71i0D0VteedOuCzZHgHe4EhZV3qTAGAV8r6Y4+O8Wh3NX5Na1WZeOc4NlNU1qhHy+nBJ61Ya4trPyQ3QKEzYfavH7hHv2Ez0VXyxupj6gJDZs+qBWrK0E7YPEkJTfyuNQAlOlCY3sUrDY4exSRTYeDJ8pDbIZbo1q7ojOi07HW/3tRBXGOyzbM1/qLk4kejgNRGWKoI52JdsFeamkqIeTcftOqYi6l5txUKmMcvp7fFg37X+rKd2p+RmT5oLCoEJtR6QVpeDKbCiHeZEo+UfJJ5Gg0tSclJrsGhB71q85Zev08gEevh0OvdKRt0wFFSEf8WClSBE5k47BW/IbJIAUlOCGP46XTSe7pFu15bi8fX5zsAr4ESCe71zxmls4vuuHr7coq08GZdtzdS1Ii2cxu8RSjd2oL9y0nDdTZ6iBHP4fz8b3w03HEor/+a/FgkifNI98p611lJdefTM2T8LITSVQJxKUfIK4LcKGwcsw1ssMvzoKkA3j+bGNLO5DyhnYUP8q40YyZYjB+5kTvjhTDEh0kvnC3OTWIXgB4Qze6COtd/5tAY5wswayhQ+/vrCZ2f8Cr0yq+pZkCtSvYWtq/Yhi6irHSwHv8R5tDf0IlsCb3Bpg+nXGRPluoJBQYhSGp2OFu6+Z+gi57LVQym9rNhfYx4jXSWogfWTXAClr8llbH8SraiyAhmF1wRfbZYRj8+4jjdru2l3ofQApJKXj/G8ZPs25qW5vK1PpcF4UtKuV0+4lEK0QFipWS7qUxQwJjhRvdOX8nidb9skzWJrsGuuAcTVX2cGvoGchWEVLieEqIcV+wKYmhfdJ1J9w3g+TdOtcgdHzMgFaacHotwmDCXIqg7JJvm04RwZog8XGXyLu9cCcsdsi/wp3sHCDCGb5lYzTmybYKse94Y4FUBChES9pHlfAnHAyplJmP54D94JQVGLxTWt8KnWvL1KKb52rUopYq0cGzQJ1subcAiK9GIXgqurVMyRtvA35mlMIpVQqD5VntZVoAQCgyIPW01ns18rjsSGDjnW5O1/PRxuwJe1FhrJY7059/958NjkIdsgI/zwdjnyYfm9UK40FopBEy3oj7AQSZoK5dovUUB0QHKgA+i6J4VAqPdqZv0mWloAwEnUkNoRg16uyUa9GB5YWD1KGhtyoxv1abQWOh2n3PidCGDmDLbFWgDQpnN6/RyyT0oTTehuRXvnGFHuyN3NbJ/FQLTbMD3QsC/6zpOkRDI77YzRW+RT8hb3VuGrYvye6Xr0sgCVHn0gV39gDzLzsOZkWOUAj1eZDmCbr4Yi97P7wWNtIC3gPzal0TUMPC4fQX9WlspwBjhWDc1HcYuMAyPJfqIj0TpqbKdX8LEQ7y33mwW4oUgKpevvtBybe0Rm+wwvuRRUkHzEsro7XPMr8sDAH7Bnz0u0aU5ex2u7AHa4sXUGz/EvF0QctnOtT6BPepbM8E8vyJRtp3LTwmVAKdnGNh388UVKmVWWbH+i9y7tmtFdkyRt0CI6MTfnQm1fk4bsvb+pCbiCnGWg7khxVPE1SfoEpUuoxCrIgykeyQaSvFYW1WLr2EC6oC6gToS3L/aK6EHpy4PLuV0BciK2aj/3Ik3rDpSxhyuINCt+Q3hYpu6VctDJbjVMmHsiY1ZtHu6Jsdwf3CciBBwgtYZNKnaf9YIYUzLmqe6guPiOb+4sCkILXriBSeKFsd4UVzznb/ksQSpAr2Ac3IMsE47XQlQixDb60OqBkX8ZQyJAStl/Ew/9th22YCUrGP9M8r80ISkka5tgVUHG9vqV4kHtPVJ06gXLcF/ON9U137ogCoO412aM/Ub8bIPE6jCV8RO+VfH+fLIqMnXtM/Iq85jXpzPI7wIZ+HDIkaO5rkJg3CvGcXaFctt+g52S05o2EJ9Ler7uY9BQgq2da71G5mOVMG9rr2vkxquQ4iJJsGnCT4M6ePSdZsXRxNKYCmtTWZIl0d5uMJBMXTQdrgyKe3GxVvcvpyIwPCuAKmBmHkG/c8R7Vei4qY9ZHWyXmIljnZaoKIRA41RIKQmG9c2ImZD9f2sRjQOd08ycU0El6C41nRXAAKJcZcTJrHZtmBJa9epJ1XO3fMwLOqfoF4XktrXFIyvuIaIYjw+hciLaYMO01DryJ4kuJ5HVHbQV0gn5imCWCTNSACFkjRoG6exD9eehkimvj2uLIHXMIfdcqw8TIGmLDLv9QJd7YW8zsl90Y00P3TceyJmzdSGLv+Yz2zNV73bwcM3PW0fbGu0sY+lbz/SapyVeR2NJuZNmlM0Key0HW6UC/jnct7smQU7ekIEzoPzWf81M4Y4RnG2ks5PFho0MIYdhWZcQOauc/0VTmvHKyZi/Bny4cr4IEA89jN1ozMija0UnStNN7258/9q+O787HJtoZwyPldHIeJbxUHL3GiOxAc/yGlXbJuefPw1y87owQdFEoC1+p7XUxwLxzkeZQNOAUuYXyQEf8QaKcNHEz1y+bvBD3PC8jmSanMMG04uMhN6KBMyQu092WOP2tHyLxc6bsoKxUCrlw5PzLm74XkbN5kTdqmmKrqdTuRu/a2+Xz2Em5g/ovagx4RR7BhOJB0+FbqOZozw46D8SuAL0rC0lcETrk+OloLslIqiRw4DIqzgBbdl48qUsxfEZ03hYhiDA9QagUWZ7SN9q+PFwI6kC11h8+7Njd3numjNWu+XdUA0qc421h5PcigR4ec7RXENHJhYFvIF+iHhOQoxNc1IbHjX7wX5cqdd1/hZ35+YryirVOOxinY9VE7EXyueOO3fi0nGMOoNgBCd7EUojU7w/oT+AvFEWchetrXgQJEwJlNHKqNKinGdIILcwwBcI9SgFmqtgjNLNr/K6rVr0v1Z5h+AqzsC9JtMfzbgdgxgoW0ePenoFbKlvRcY0LPcEynVPazYvMueZT5JpIFT244gzyZiizJmsyYhCEfGMxd7ulQq7lw8DRu9adApW/NU7NFuV1yIbfpffUmUKziGHMMazrQomjBdxpJWGYEAtdiRF+XghmKJIgGgguy0S1d2lHBe2cwv4McGYdUB/3XUq9aDWMuNf0hQxEfXH1Y1n1ItwJIrn3YBhH3y+U6Px8OaYFpi1GDBKhjqGK/xZ16ajsqpLKFala3EP0nN+KJUP9TL0JWWRRfFv9jtDSBWnvC67oLQxKzZ5tYnsNJyMo/adY8E8fmo30sz4dGB5QGgT08/0zoxEvevHENIi2YoVBl9kZMHR6PMprM08eqDRAHAydevlSqoEBbcBzCGXcjJT8eVIf5e7jZPNf/UDOoDcLKejdDTdYUWcS78q+ZPPJ808HPGRyFCWi3+HiGBK05qsGV/VUkg7aXfmUmK6X2vJwD1ERCwV10UM5brrr9v8RMbXJPijX7WCPghCppTJlmZDbhEWU3IEYGLrjTKwKm4Bqr2RKgCe1u9rPF396mjOD1xgXVV+qvnuFDrIjUrK8w3AUQ5DU6pmkiupF2N5ySwQHjgaffABGhqX2i62hQKeki/7IZWW7R5/BTWrERuHDvW6VLFvuCHMynRmhmgGrnY8hOOeuCEDzkq7UR9Y7UZefJvLbm2mRlcXqAldvLYjn4MIXpYzXxEg+XPV43nKjf43XA2NGGmQ0flB9FowulmXX9geM9XfZCPEDKDjU0ixOgBCYWxPBQyRqxzfih2HZvAPECjzTQXN5nytbioqx3GzvnQyHtICiRNQ0BC4BeI9fWD8I+CV3y3vsuri323Jy3dl+hOtDQg1ayJxJgairPl1g0ov868YWET3afIZa0egiyU/YnuSWL9cB33RYP+KButbkg2X0M5zyP6+1auzw0qgTXZT4Koux5W89VVDkOQhRWINgoI4W/u72NqCG61QN4Q3KUm3SMJYVNNA0Q6JjogEa+Ew+5E+ZktA4i2ySONh4muU4WcrmM8Vf4n6uyOTWh+ZAvPjK/zP+VPedoKFvZgoEdUeCx4UqT7PbpAzvaxAsP4McbxKTHGxyz/tIz5FOCYIqoLYoUOUc2Wr6JrB3x2z4/IefwHmu0zYjev/raGglpXQXPzK6h2o53pZ7RD56PkNANsMn+sw+lrP5G07y1qzrEluVpJZIJpfVBg/MiSDHJyjyPZbHjjcj9WMhFpgdmDllZJYtnjF0/eFiyktYMZQlefl+E164c4SLOM4T1g9V+6SFXg3xHt4fdGOaMjHTR5FNQDCbmwOyMB3GcbJsGP0Gd+byptG9/rSS+4PImT21j+gtTTQhD8TvHRnlI1S+5hYuvu+GAi3KBNKduzjPQivf9nbXr+7lIbLelazAogLnDgQEUDwPVqP1/Mxwp3AX/NuSbfC3OrHNmCRsfP5kaXVq+LylvedEJQ0Z1lGU31YeruEiE2oGoG2QsZRxYj3r33SsRKgI4bUzPt/gge/XGxR9DUiXMtT9javHTtGPoxCGsUNlEnSXQ3uqHUu1ZFPwof9kD/fB45fLup4Vp5/DHDxJRW7jeK2NtNrUq76FQ/WaEi8QLirObPHLJYUldKcJxp/gYZoB/w6v4CSJ3eNCi3JcE7apZjHGqyvmlcbplO+kFLk3yT4Z6MivZT9CCbu8AvdmPgjN0e3EV2lNA0brQzJLvtsKh+ZhqfuQO8nuL+/9R2WWUs51yHWrd9Cbujek12/hkYOODoCWOa3EwrJlt1roJ35CqDDSDYhfzlnk3K5cMb0HaAM5d8wbcPCgAwYsCy9/vTdKqCJdFeRfbaN7kcPESmuqKKfE1MTxASei1vI+a61eY3pLAtYZHaaFffW3xWMXGWoYIL18b/Tb5p6Vn9DmO3SW3aG0OA/2hZgHPeKydUl8QvjClx5lX4HSl1NWW1NqThAlI0HZZYCsVcw+9vvkGGYbOLv1gfdY/Ojw9k9ng/xwfpBYCHT10oGl5dlCD55wCIri09GcaEHgWxowoQKN0pqDrKoyv4tPNromBbmu020C56Ge+t78eHJE5zyUB38uAviYcHkRF3I/3HAtLRU94elKdSYQVcZSP4ui26GDCIbL8aLT+ZFTVQ0XVld6XAdlIPxQCCihgHNDzt64/Kk3kUZ4iT4k2GnDTapRmcj/I7IF8ijEPHv15T1K4CdCvTVTTUuUq5Co9aLux8o2myI57W0gd9m1l7/M6Zrn5tdEttIrrdWnv+UPiPsPYVqXR9gOK6sJdiB4a048v9NcYlwtdkvDYuoCjrYsu+jgUiNlzUbHC+ZpM5VamGY86hAjSCPSCY7KN0HIQDv0OLbB+z2dZuRAS3BKJDOt/Tp2ORzZWpZrTPIyu3T+2hjfoYjnLIdOInelY5PY7reC783pfS+vyWdhQC+NH3ccRReFonepIHmvmfExMmkzuhmFziumdnCQLKwUWkTTzZm5uaOFlUFUOqK0S4WvpNOiB+/fQwoAbvrXvXgZXxKJ3ex5EldeBLb4K8lHACrOY9tPm1qTwJ5MRhwBicELoXMbpDwQlMEwTnX77q/vdS4CFcT76a1ugSvmohzaSwn8A90+YcPEcFzBS3wQL2ZuTI0vJEoTYPZIMP7R95ZSHhc8P0ltQOS3Szp9sKT0zw+hE01Nqxm1xSwh/GA9z5CXcC0DmJzBVD9NdyIWsAZphECokdvtw72cBxUDwLgMZfa61iH1Yp6KjFACr/6+uayVJh2NM2bU5vRH7dF9/lhy4l1SyusirM7e6sk10TAXNVOTsouJ/6j3ZRhjfEAFCEkVYu+kRapdflWGzXAsTBamGjkAJFdbGlAYxNmYuqSu3rJyXzg9LDk0ddMIRebu6lJqV0lyIX1fYprR0/hfYbNAphjnMW1cEMkuiWYreXTW73cwiPaebTZh56aG8hiMgZ2Up2vts2+zC88JbUtoAmTEnAZI5zTJnb9L3QTKQRy2i+Blc98Op1eS1labayoroNQyOKuTRT5/nnkYe8n2wzaNER7MBNGxu8dkuqqibHpq5uA/tWpjWkRs2qC5KGjrUnNSGV/CzS8zz+rXto8O8CbGocu4N8wBeKd3PwpPyy3nsphKLX33MkSsbnHJBJsqrkaqoilam3DzoWfkI1ep+AIF7kIfh3k3Db+oJ8J3AX3vL87gdPYKdXnTPkMzqHdFfwtRvO54H+6nOHwc/+yHFaFeFf2gbjgy1r3R8PuEfbDHjX+dQtZAISvVF+fxnfmgsBUZwJTwN0bUT06OcwRHZeKbs6Svpm5+rCBh1IqVlC97H20o8+3etQv6dR53t48+TTEXSoU7sKvvNQSRc+XdBz4ddhrW9+zzQAB/aZNGnD/DpfUMtPZC0K1TRdrbcfONTm3dknbOmGJgPBgr4JsQSG1d7/TiQIE/6ODKooJIuMCHqvaNUlr21RyjwVyuXV6Vx6U0iMHjqKNzDDIFVNnkQlfhfI4m3Mpwnpc3XFFQEQbeDTPXbBn4x0S+Gw9mQ0CnKFzrcJePy4qy9QQsW3HYk7sGDNuohpXpmWKfpKNQYSs8vv723tgpc+9e2carJjyMSwZMkwbu1vyjpwzaKTSMKWnlC/RCUu1VQKTsrgPyFvhDR2nPnHjFfsZsIXJ0QvNrDuO2E1iqtmYM8ATnHg0ZKq7Z924e90frHX9BDiKDmP45mMawqm9p3BA7NcEl5TCwsVd0lT+f4tkzEzsmv2IfjfQQcXOZrH3qO873WByGmiKPYqckTdoZe/PuifxNajN4BIutLgZZr2GpMtmJZ+vPRzHYM0c1z/iIU6RZ6w4ZOhc2XDOCPGoZnIpMAqGC9dK3e6Br+VWAomKS4Y1WmCoLE5ivCTyr3JkyA0Xz9LZ55Q9HCGcKL2fAxLoqS7MmHp9qyzZZHldt6AzzyxQW5GC8o0uErke7dNdjZUxPlOBzNi5Fv2snm7IdiCQ/pMEXRyBc0d6AkMguglGiuqS4NbLIMXWFQcAdr35MjbMnRvABuIIWz4bLMg0c7DEtOhuZGh1aKpcVqLvW/RfVVBdePu074w3AZLBOcZjp2yBftRcdqbmlxAmFYhLTHUxAYRqm6/Hzn/roUOM2/rPSMza5TZ4M8CZZI5FGik4PYeTIT0efdoGRbCKAgDWDxrqvaXJJ562oulyyEF7c0svaKv64lCWqRfil/yyxhkhuQh4bh27yOgaa5a5zky3GKT/1NJ59QLp/HMUd+04rJCm8JHrxYYvNPnmPgEq7hbTkwu7C2YGfyC9h88HuZskJi2dnhXMjNbj+MoSFSL5uLk1R20UZJT9BqLVgIOFBko/eIB/6rcUiYt0Aa3d2eqoiqKwSsvqD3iWfZhvF2DKyF/HdSncNtdSp5JVEPBGPRz9uAc+PaRFDSk11FH5tvFXFiNCfWt0QlzDx60MhbIvLLuYbkd+J8r76X37Jhzj9F9kOyMF2QTUH+AfX5Yi49nrOn79wFNJ6TMFxj2uFxkbgWamtelIFnztKvTdFCfN7eItm3trZaq8WhCiny8BK1sN/3GEe52EES48mRHyA/qSfmE59bL+odkrEu5F9DKpnxgNL16ldsBI9aA3PWoU1Q6k5XtStMwrqD+2tEyubcNY9WyohefC/dkMUw3avOOSZyKfGPlrHXa5rBHJcmC+dRsvKMPajwMl1h5+9FSeJDJCLABpA4V5Nv3SQfbSHXIjPgwbukjHe9Pd01KJmnahH9TXXmEdAFOgrfJ9rJWFuz+0hMeYkmyToUQMYWhSSTbhFrL8W7mZ0jhW1nq0LhtD8HtDrt+5XGDWa+kGDSE5DbtZ04nzLMoMw2lUMHRWBM/IidY0GI6gvubGXwqbsEnpZGxsWKJi4GRs2gKV/8xgXIKtwmjrRYKJGraWH9zOn1uSJY7yJUytLJLtEOVVGC8POYSRheuINLMPICI+JXcwtHFx4J5E+SOZ6ItwJwk9gcHmXFVDPSCRUqWSPI6J9MHzfFePooO3dO+l9MlAGZe5z2iAcVQycKWA81qAA0PhpU1Y3dSYisP+z1qyv5NVWr6l99V8V6JejVTIkjM04Q4Xy/uBVzf8OT0KLWd9q+c38UDSdsDWehG0UpanciedQZsErE0gb352DBQNFuv2kgiz7AF71l0Xv6H3oUO/OMA/eu5RDWJRsmXao4/uITZzcc8LFNwGoflyc/kFMT+SrzA/oFPQDaimSUechrjbGfjxASo9OtP8PW2rqH/j97wMFZFzdrVrgDKqpW/DSCknZ8gCNHQ440DZInQ1b16GJOHIV3ilSlbkvlFMedGlA1Tml0AGHGCTTGeX+zCHRrnV0zxoga2d0PFKicB1GFDXDwhQcnp9XIQbVy6I5HuOQlLhhFAvU7uedNRzpcsZW97vqCsm6oDEETX7swPvr1sRDa9MnDkdTqJ1yrOM6YJ+CILtEViVED0E3afVpMuMmKi7mIFzw+6rJ3GDtllFGZBd2vUJruG3TStfouhtCa8t3llSKQmUmNjZy+iDdnmTxjQLKhKxRusI6rRkU6ePgUASfQ+deDrDKhRL9xmi4LsRa/ov8kNMsyUf/wClt1cL7WpWcr7we0Igz4k56u4qNlgPW9psiIiM2g7nnJksemBy9w4BPOrxNyEMw9AiiW/B6TuMynVBEFeZ4nkDtzdiAW9t+I31VI3ixH1vZSFfIrDHa8d8phcV2H75J+EMYRShx0cQqp0BDwqXGldwp53yyH7b0bOg3c5ipspa8EvuIZvI1+it9HinEOwkG05CauvyL6rjkj/zS5TMdTNAsR5m/FfLAkR19hgueO5V3gVzdmrSN88alLXxjYc7zFZhU4CmZrbxR7b9UrTG3aWGApI3tSyJBp6iwzweSi2ZrlqmhVi24gIRNRIUNUfIKwz84a7XPZngZidQSCMqvKIDiXeGnBRmLO0qV4x/6SETnX8uhLCWtq24d4VsfhgIiSR9BjtuKCP0pI/0SfsSG0Tvc06htS84vaSRM5PMxlo81EOVvbsR2MPR3JX1ZfU8R/VMHg6shfiZmYCLJB+cDzqjIBLwXI0UeZ3SiDlAnHkxF7RyaKJ8K1bsC86FOqC5elNFg7uLrTY+4g3umTOyFchmzwY8ckqtDTQBS5qFI6EY1ues0epXawZ4qW9rJQ7HXZgBJbZ0TIkI2XeZ+pSfo8iLw5nMjxj9guQba8Gq7KLI02hXLvROSkIb/gdF/RcID6nhhrjch/2PlVCC9xL/aklT535lLu5IhmMALdabJAhvDH6u8MMPTxzZ+4gHuLUGuqZNl6UNPbzdq4W0nC22IUnlUfvw1aI0+LouO9rKxGptbDdRshqA5e9+4pho68SQdIcq+vJrTMKn0HFFHSgPEgYIExcWJaDU/p+YEyodqB34BszAFmymMrkizDq8HdjunqC7JdK0E7z+f5poMij7PM4Q3q47Jiohyu3hk0rBnl2mgOjK3b6tWP+JP6AiBkQWiQag8/fRrz7gWMf0KuV9b/zfRFxwU8UkIdDDQKNp83PzLgLGyB2ZtdLnTCL+nqlr6q0k6QrMMeyo8ze8GWgASE/3qwI14tRvooeG4//InBtoRGiCteyqi0qIdWBkawC2ZsrIWiu4EndSpKi8aCASrFznsaRbUwHTur/Q/4QP94PqmjioPcPUXgY1+kCfU/zrMCKTogfKnxzCqYEE9jj/TV8rT/3zn5PXPPe7JIQdDd/w7RvaUnGMOYEq6iXCXg8DRAL4F0MtuBTXj5uQy1V3prPSdnz+v1nrWU22g6fQBeoJRM1dvaLLRvcb9xuV8TIUaFFAK3RORfu6cVgme/ec0MvJIipLaXwe3MNWlDI7D+XHOKVlMDYP1tDg0lt8ydu7zGijt8VYO0j3b/FkQQvELSuTR0k5tmIhJLQtbPLGqXKAFapkeQjmhje99N3CLfdvuPZJkAfRFqyJzZWKlredn4Wp2WyveZjpBxyjlINr09P6x9afl0BhfVsRYSKs0wX6BKPgTZjL+lgN0yqHS0CHmhpLoemrgtrpwekAo1HF476hmw91b5HtGfQXDTpceuPMNKCCqD85/op7Jmf6j6lNkKQqHk0nJ9033w6EbhQIdFGbUMveF9S/MADm5WSVmX6A4ILxvFL3hmPqgLT8VGn5+8uLsUNALQFD9kADD63FStLvma/3AzK5i3YdFcqUkqsXJMEaUzWofsCqqkR/RTIWKWNAEy3vf4m8DuDejBUoa/PEO3otIlNZ5t8GzHhXX5yPjNQ4lW2ZUktqueM9HpphfwcHMGIRIHW6JpgCcWrT4McJFU0kF3rBieUC1cGstxnlrzlfYrzf0W4uNTrnBYqfMwf/Gq0KG7P48xp0tRKMQrvEsc03V10ClY4m+USocsPwWYYWNF6cxbdVTG+si8rfRcCWMUFHVIPmT3IAfKilvRz1xo41e/rbN951IAzB+I0+MCR+KlVP1ZvMpcd/V2Ndc4qpdMxCAZ53wrJKHOfctAuGChnEKJ729B3O3YSRVASagV70KfOVDA7+kK5anIx6S6SA9iQOhBEWpqt+AMrCvv1NmnFbDnz5RWyEU4+SJUkh8v1EPvFq7KeX21XNG9tr+fRO535Gvn1WwZVMuoP4sbKcqn4672QLSD1IZ71sefpbaeSgAKgP6pa14BhyetilXLXY+rhVZ7lXYxbMYnTxEZ6bmMQpBj/VoHJ56l3NK7SS84BLQVDLb/EpNuoNAZ0uQQHhyPaIQh+6pcmMa18r2MHlbsT9eQYMEO8buviaWx+bWozFrDGn6CH645qq7QYZs11JzZhssLCBCNb2WXEv7QvmT+T/399cICKmrtY1qNjZ0McN/bdPy2L/8dFijrEalB0Vm0+BOh7Om2jEaIjDQx5DS0VXh0xsjEVnpDTLoUegM+5zqXlSPp7HibvLOJF1iz7KNjKOc6D/3ASdIrtH5FKfTERzK7aQ5ONI8AH/cYcD/eo3LUXwk/P5mDsemhc5Q3oPy7pjeaCH8dik5fajYyoF/0183Qhd9ja1FT+T5PFtF/J/nkfjP787Fe1uHWZ13WyFChUTa21FOtBYrpKN/hWjzFTTqoxLf9CjEZ1HodEJ7rEZxzO9kVEVsn8aWiOgo5ch+ISnYZC+m5sk9znzlT5hox/14tFnIEu8a2Tw68UCz4PNi9ZHhSMrTlQXonD2aFGUbO15Joh7g+VShdFuRP6X+zJIHwn8DZuYeBpQrW36PJ3E8bdHvsq97/xofnmJoPOs24nDDTWedWYbmg10/edB+NgLv8Ci+80lcajR8QUOKimfHQxnybWzPAtuwNVWn+r0DI0CTJ0batZndJH1Qxin57fr9GihLqIPSmfaFprWFIjHES41u5pA+2UfDp9FpDGctP+x1HPm3WrfoaeMIiJYguYRsUY92lQWMmxfc3gYoFR7lDhC2N4YjbNgNvopSYHSLI0iPowynVMqO3kuqXZvEwOKcoXjpKZE/+r1iWG+lOyOvDa69AdOwzgG0CbeB0/6+VgBJlJBnbFN08/2dHRBEo2QCUmQOkj1Nq0JOJO9JnKIwXM11SvkXfrlPBHs4RPZBLYZYtxb7ZUEyG2sCezOtZ3eC2XTlHUuISQSDGiph/ddmpCYF3tnT1lE4MUnct3q7DxNhQvuZyaEJUsZq2uuGGmb8VOsn5bvq1KdNziogNB/jtZ5Nf39RbCfErACMk+Njfdi0a32M4l0V2b8xbPgiC2SQFktE7VkLy+5329APVc9n+g62DmLyVQfp7jOGsnNWZpXu3xxup5rj/C17zGzk5xVl24Rw5EuPVCy4RQmKomcVzFgI3QTDA/jRf31FUb8jQa2MQfzU6+PVHT8Ezbra/qxh6JzCwh6WT65evnz0cx7iDqWKLOUY58eurCTcQDAxFywYT9vOac/7I3aX0AO0Iu68pUSJxhv15/INa8S6vkq7mrIKkeoviUCZfioM56G3lWXjnRMXpB/QZSoE/6Fp2oqUVbtKJlD1/w6oyuv1lU6Jdb5xsakrtbHy+DKHKa2T8o1eqB9Ihtbx5KJZL3Mu7/vEO4iciIESsFw43Nr31AHyr//tf0sQaDI9Cn2wjv7W2VsXXSzy3ML1Sz+WVCGVo6K2y2qhP3KI4udbvEhYEM3jpI+9EaIiXrCZL1yllH30BC/Tfr1U+Ki9Vy9WSFvwpclefDzlCPesW77gkM0sauhqO9H0rVhJGMvUZrv8wSnQAXHXjDTq25Kr4CbnkB73n+AajI4QvmV/ctxP+GklIYVi1txKjnEirmx1wvZSjWVnNE/1lRVlb+FIlE2+basLSTVA2pPLQgGwCFMHZMqw/x4Jot7nFdWIGP8WXTjWmjlyCrwITh475r5RpRsVJ+vnF8HoP3uI2QUXzZ6Q9Tmi6t5LArs28Oc/es3bWhZtafoexZp+rc4ynqBU91Qg7idE6uahy+wkRgmtna8s9YTDHeo0nxQFq7K5I8oWsI/Ln5jaZMo5vUVU95osK5oUdekza9wYZadShbaQHiLXB2Uzh4Sra9G9+SH14KcXjdYtm66x1YAfqFsNGNGAOd3e3XmsEABIEtIK7czqzhnL5cNW8aM5HQVOxXy1haamGCVIaqnK3UawOMiGbeapOGc8jlN/U6Hp/nT+/t9CRgkyNaep1UKCW320VO+8eXC3XZg+Ua5I5LoeYuLJ7lkRgud5LdBZcZcg+SyqPtdGqyZsd7xB8NFK3zfNBuBIdGsZGtOIobgKwz8rfHU5LD1SZjD+AoxzDhbHUGDf8Ba+e9SsNkcr/inaUHYPY02VxQIQE88jHinfmE9FXhQvrfVHLA3W/uSE+3DCleycgITRQ9D0zpH9Eh8exWo2Y266TmeRxpLp10bxE+KieV8da7H/cZ9a9ZDRGCKwwXWmRsJkkeBMcu8TOyfS3hAymsLHChQE5BIEm3seZPmGFZXpKCQnefbj6icCrBVlcvv5szfNjB0bxc+eZVJf0CoQC+BLmvxg0jDGeTE1RLrAAPNHqhjBCfVBTuhBhBOAELWqcD15UkSlD81AJHmR2EzjMgn8grpSI7SLhTKxnG92O6nmRTxnVQ+JKgrABQuzAE1fjx9MzbcttSz1UqXPI52YewTX0K/MhMIN/wNkueSupxl6SBwJXn2nIiu3sr+1oc3FFyuI9wDv+cagllLO8fzhLcQSekbtKY8uffS37VDQ4i+t779ZZ43jfE3Tnb51Vc5jbnDJNgRMlvNAROIi+FEHGbUPfE/8PLABn2uLISut/7b1ojRswGpsq4xgUEXlFfk4C3dPp0AoE4uBnGWT6oMz9jrlLuBwJx80N3LDRTetnelpGO6v5Mn5skX8IBJiSyZ97+Cov5peKmD0HqGwvyCMoiEflN9FzMhaWKhwKg6TwlK6eA/SjIIjRCQz/TpFk+jQPBD+Hxo8G1Semwqe4kP39Og3aZC3EGfKlJclHTDaJltEFg085Zbca8XMku6M7D6Y1tbt41Ev0d0avamDyO3YtUC4uDrIG2RKnYXGEW0miAnsVqQxC3kAuuz8/ONhDRo44crWUaZTAHIQNtk1uUWdvms0K7yTUV2QZ3mvF/FN/S7eVz55oPXKVX8c4AizPhjRJn6F9thvQMNF7+EFM9Ct24ALWbmPbN20IHZW8tEuy5V3CdoetIpboYYYRtM4V8GOjFpdqyggOdC0ugTWGnpgFXuBs+WCRtg2ihxXSGnpm59hL0H3dUYsL7qTBkQtA5rJ0+apLFsjm7iaS+0XDICyijIkuiF/ZSWyQHI97/rexRlR8vN1NSnk37YE8CKOtJpFSOmyRYbLCf2q9rs44/35uFLkBybZOkIsW8gVQaD+lExbX7DoWg0Lk2TG1HGmrXO5rKnVOl5lP0wdGtnn9Z5Rm8cr2yQo0CLUd+TVn1S6J+xDhU4BefoKOhMV8riBMU9KB6OBJLqd5vQEvvGAs3qhMbWQ8CfTL9zUUP9VRy5v5+StlnTAqw0JwlLHeMuPp+9vNVSm5Ml8hDl0myZ05IyvR1Htk1CNLnuW+lUVXjaWLbNvSH2SSRGRqbzMdPZl+541qSWvhHclnP8kf4lgh+vyKpBrIjn1PI/fz9MjQBqAGY8N34ednJGOiHg6cB6GTmWsyW4MlYzRx1TMbKwcDYur7W5BJoNUiR0/53GUCZekvHwWLRbqjXlDZShBMbM0fTEUeDAe0JA2H2ECSSGVNNvuHgXl39TGvXW+Teswf3pV1W2/Kmel59ix3LdG9MjcSgw3ni1c3BA7zSK6T8HN/Ck2IWONuXCMpuxVG1EU2L552Ga1u/1psxUA79C4lBXrg1KXW+f1cHfwFn6qH/dpeoUMTfcJq40G8bKVSeyr9TcIMTQCOR2oGm76H0VNoP9rJAY8p2NiIL47nyDZPALB0WEjvBIV3IIrEByNkKa2kD5Ub/gWCxFZrMMkhzgxilXHRtVrs+B1kCCeaukFsdp6Y8FDCcpOxPkc/HUYiO9pP5N43hM2DdEk418+rApaBCR5carNOU/K4peta2bzZKhvSuMXXSPyW6Hw6YKKv+ndvKnu1OM/1Ds1nIXLRbbalsxanhYMRAT4pPQ+VmpNygKHonIBwb62fqWDH/L4QYONoKAnbLhFQJJcU5xq6cym7f49Ek4r2iUkWO9glny5PczbXSzrOndvBrBHgWnTaQn5IOWV2nXv6HVfyYdQD3QzGqXYyZhyl5RumUn//PXHSky7LJjR94M+t3lIdiIbvuxCgTAyxTRDh+cVO+xQn1ITMGIhwhEWQ9l7plaVTOLY6V+QY7ooT763A2wd7dhfYtqmf84h58rjx/P7zEvKtLbyulRUq0MuXM2I0FnWjY/nlKA00Xe1V8xXuK4VmmY0bKNr1y81e2YttIiTG5ISNoHRIklCEu8JNx97AGdw5x7EKlZEes4F1NEygqOS6t6sdhX/yABU+5xrQ8T+V+60QF13802BCfjkm/x//cCCaRZxBYgh6sgHPkZyy27psUZ1HT13wJGmaKdU+aLrdHyp46RamfJt1TQLC+W4CjY0F89EDrQtYBkqJG5e9E++YtdC2De6X1E08ji+tyNcEv//O3UN5E8+jdoRXzOMdlqk2wGnRFmAeTTUvak+8gQ/Gk/49sMUOoyvPPtTSPJaWVVxfYJDEASoWoXXLxCAv0QD8yTBwoxX7rpSJ8b8MQa9Q5cDRnhnP1MP3uhCtJE6w3Qcg7nizggMsS+OjB2DsoALVRjKMJNbT1BK2ZU4YD2uFm9+sNxzALTKfIz9+o78/vbr2s0ocBHsKPzVD3UxcyCHD4pDt25Y5N7jnchUEaovmnbYhcmv6eTDVgt3HL9KJW9PywlMSMnRxWYTeWnXdxgtqessgukAvTPt/x9ttBer+b+R5fNGkdaAocG11WbwAr8ajCIS5U/NYcmF747ffaCETFWSfasuhQnJdTHTDUTS8zH9k4KpPducsxzrXRFyO4Gljkg2WVMO+hiT/20/GLiof8KGOzmWA80QJhAapZXR+TB5NSVQZwLXRCmfiOu8qt0ODypMtmVaTaoIr1xK/27ndXANlZT1aWA+aIe5ni+FWx1h30IYCqvuJQ6JqToP/K6ED3pdkkYAyKdfX40kWfFOFO+OW9OZbzEoxNYvKIB4UqIUzJTsxsfghXfz2uDbyVhBt+AqSIWYj3O9wJw0JPxFLtg4ONEAlFl8mkh6Xa3fpFzycnRA6O+EfNWEmvyt42Bn8FLnaM0KoJZ/XNMdaJd55h+oc7qUu0jLme/No6uZtK61F8ClnhtCCZ82WndylT/yKKQb22/6yislSg95JiR46OQSp3bMX/y6crLPDEQf73qngcn4tpOGv9ARy/kxPf1q7ot2iIFv/HkaaFBUg+SmwOvnUEXFPY6b6cmdvt6O+lKryeiaA1QX5vjyfrOXoAoRTqOUsBorY1yWX9b9ccCa9i3ClYV/B+qgvAQRjQ8Yb8l+TQqA0hDlU6Dj30xOtg1Blp+5LxOdi6Op0eff4KLaobzhHtiQiRzMMQ3W5caY0Ebud5KHzba6F78RjZjA35plYIF3P/kmZ+ZbkT6T14DKk/ddN1QghS/1jsYp1X+rbEBJE6zXcjt3iljkU0W2voCvEKbRsCceVU6RtImFkdONeqkw9tVFptp1ioDw5khIT7uKj5PyKWohsriipT19o3cjlOghTjuhy0n39dW4p4/x0Sw/gTRHOdr5UtHnucGHu3MpdT9lKsZuPAA+sBfB0gDSrUCGItEqjcrwC25GIDoBe2gAAWARw+RtWIz4Z1z5qkqhlVwseaQJNPEEEDXXnk/T6ybQWHEXlZOQLFiUxV3jhRk0dyORVcYcG6QTLTnuGSxOPkfD8nS2Ngidqt8C8a9rCpshS3DcTJ11sJG8IPFQYaVTLAhLtMP0iqZ97Aw1RFJZtAUNu/Ygni/285gZlQ7yNw0fooZKOTG+ufx23QQ2KiMthTmrq+AEZM4sANLXM77ZwsIiHWyDAGKpmfWJXsGMS8LeZAxSbItpEDB2zE+GWP2ORxNam8u3k6KzW03x6HEWeoua1JesX5LozHbnG4PpmebfaMv2VgxOq/PwfNX41kn399Lq++Ruu22nmbtChwtVzOte7lo/JkSKM0xMKxOdhs/THIiVLWi9+iOdl5zWRphachWErKaIXFs1hmCSVDzVzCBd07vx0x73gqfcjUtSWRYDLqpZZr3IXlRWvTXfimVc6CNKSC+YuG2tXtFXyMSl5TDACM/iecmXfJetdfLsAj3/AdjOKIeZBWR50spa9px6NK2jQANzD6nx0nCtcyw/UDSgjEHCizYEmtmOJ8THCGQaOqjiSoM1rUodcMCwY/DTb9EA9HFSDsghZ3inAezmoQ7e0q/58/Gy6dFWglrPvMSGc7xst2ExmXfHtriKKeMqidDqxw0W71hto0WYolVAr03zRPMHeDemt3NaFMhTwzAHA7OaoQNCcu1fHx2LI79suc0tpyNCs8dggjg18/Dr//fEUu3FIcWNBT3Qg6OrccEFdf5rUdfqL5vCZC58tfT4f+PEUruyeLXZcqTaS/2qe0tuf8ltG12Fp82W3U6E9eDCqHMZ1DDZb0YU0Spo9f6WhyCP4modMhCeoljmZ6DsmdjUmPR6YZgckPquoZ8mRhdsB+XSd98WAKIo3UfCVTMaapQZR96Yh4/Lcvl7BRwW5q45UHlK7DN0M7JnuwCgFeTWS0+CADFIVqHnqX44Rme2PFbNKtwT1rE31Nw6Hnq7511/om4Lx+s6o7uDX/pGzyNC2pKEYOrY3biDqe+VKZBmygsmY/msTpf3bAOmD3fVRqm4+/JCXHgnT6Xort7GtrnB+jgdyUzqs0F+7tXES02wYa/csatd1z3arjL7mr6fjfgoTDD2w4zcuSwY26dKaqkVBclnePbhu17J+G18hX0LSqoBHlpA2kxu5qqPiC2ysu9lXZXcByenTQOeHGt/pCSbFTzPplq1bojfZT7AsoO4LrVpMvQlbPJbsK9vefXGs90wOaCrNlFaFj1tf6rjr8AoGZLFEoWqsCg5q6J8AukpbsOaJqYXx8mL1pxalg4kCtsYSJPvjB4JTcoJw0Jy4Y20AneOL4Br1JMCt3WG33WutzPrlrwZgN8hoEkNqKTZESrJ+KkXl4/PUMTdIMQZf2Rzp0DtaB0ieCuM7WRHHDHINPysQsLj196BP+fSlExQviM1WBQ/EzShgFO87huN5kS1hHXChRXTk5oFfJ1leR8JdxzHzktxNHMON+KZyaZrfajCth70KujAe2aii+LG2GBQ2tK9DUedfTioeX7aeAAawGBa6sy/5pWfb8Izc1w+ksR+nJSZ0tULS12iS1NV+g9erNYnN5ZUF8TlMqAlALUIP9cXpK/FlgiMV56VQHb3rUK82im8/8WeUq7MlncCHXmSKZyVcnPvAhTVesgd09jRXHLp1qQf8NiBXI0Ggb7KU8Ew8ZYPFDG+/nUkRi20exzHCzCM4RcGr9xNV6T+GtQNDiN17dleI4T7hWiDHPUxVRCZtPik7AX/64VAO57qYGh5gCDPuBgfoYcEQKL3iKBSNuJz/IflgpIPOXjLnNG+ddX9TUpYfVeFscm3tD4vZBapgJIuGrfRztULkNS1TqtpsrAHBNhHFNH0fciUmZdZrV45MkuNzibtqAyFfSPRk12tmU5IdQgt9a1QLZ566t5hBrRuGVa/gEb6btsNUQ4isLxSE010hcp4HRPn0fpPymdlvJpAZKWeB5j+SPZWw5WkPISUCdGkWonTuLIPaODBMJyvtwGt7afVX030/tje0jLIIm9lW9D/JTyWwlIytySLoF2OH+l+JYSLCbxoWJdRKKQcsF4WhlEAbeapnmihK6eRCTz0Nr4Ko80inBc+KS8Frrqmg7GaEkfvbLDhK0ummu1cn6Gwu+4SargMomSPUFZU9SeoKvX8bygd6TewvMr4R89DeBcqSXHPIVsMETuA9CtBmLWPWOBLAamm0raPFs5daALTPK6Wutk4UHSMm7bNZFdxCNShbBsFfGbigV1xszGvbHrnUDhXPSd/FcmMkmgV6ypftx5C9GHnSp2gJOu4RqUWgiRQkWBKTVhn+lFOkn8KJ+V6XIezpGkhNaIbr85kfWWNOhlOIUoVeUQLzQyzO0pA9WYI0xC3w+3p18YOhxz3qF9Q68+D15XkbUR4STEZG2KRv3w/55T97TqA3wI7Ec0Ir8id5F3CMtULtA2SynWV9KZHqmD+Ki0lnkN2z21CMHB+/KschnGAzx6SCRBGW/MacSz+UQ3xhRqCpdjF8zqKhNwqHDibnHsIclY+VMwp7iOp8eOGK+DmH8CtjHjhDZxwbdh+kZqHTf10jx/gbqlHyEOQbojvQSP8PrlZ3R6KKyVCw1V2Rc96qiCvEDyi0K8ma2ErcziVCe0FrLUK2hd9yLgc82uWgA1KuX76VpwSbSmuJpVyVXg9GW9EA2ItiLVF3KEnXilCYtjzWGgIYsW06wQsWNvDqfCNQyogGtIPoKodYUsSeVITB3G+dsmvzAqMWOxYIrtHWvm0pqLBWa1aBvhLJzYS0aJKIv4SGHrSUb1uM448U95lnWaGMC4PBGp5kI46JP1bD6x8jdFWRr5o8r7aZ56XRMk0vXQW3ssQZ/mW9+Yd6C3OkljpX/WzIoYPeZwVZ6RIxngC6dNsEetWa6AaFxLYFh4cp07nhgRA5gKYdlK7bKtaqN4q3qiYM0AL68uClEXIFb6QCoGUPvRBbJF+fHZJfaz0Znfyl2MBzPBf6fZkGzPzWxwsvhbqqbtYQKE4Ns0PQASZsnD5bev8QzjEdQSw8prH0NJWJX4GABFORtAVbRbnjJ0ojJmmFA/mOiA+qvOJvfM3/6DMskzcvLv0j/WoyHoZvyKa/DAUkmH13RIuUpvND9pmHp8Ot/iFge87dLgXW6SgHVH9k+yHBvMOjJJ6zxam4Zg+RcpBd4CUaJ0UH37VCEQiTmbNthJmR00Nak2eRUEQ5fuhWt2yhP87Kdp5Zu25EizRhuYT+MSCrEu4IyM/HrS7msRhucX0dIgPYA4F8IcZhDr4tfd07jMlx82VIT6nuXz/Fy0Z/vawzMmhr+IvUE5dpQ7kW5gbc2y8J55PWhFesKl3ImDY9ITjuuZzPYAdwmUEYx0zHoRyRToxKFTQ4aUAdC4ddY8ZF/uJX2xbUxq7KwOMi4xlSWHSknTQJ1d0mKBz7QxzHHwoxrbeFSgMQbmLbRnF3U9cbJOTBDOwhRdAnWq7yQu0iItnX2LkcrgJcNVxakMhCW6v4nHi1WGLhPWl09+dxoV+R53dQU8rSMcfI3JT1JSh6+9n0svf4qo16I00QV7uT3wYBFKTI8BiIqBM3P1JzFmNU2vtha9Fj/8uMWm4U6lWvHQp1KZZYz98wCWmYkXjkn8veOSAjwxzjE584BGsPogK57GwiFUrhPILtGZ+NPZT3YIUMFcMjaXvMOPn9MwllUnvVRZ6/HwSi+fXXhU+dNGphGlVYnxEQsyqVtwvxa3KN+dGjKJ5Xo734xnEhDr9VRHUyQUn1jSS3wVu7A3t+r3geO2EY05mphozbHygW8JzjzmGWGblSW4O/3TxA8mYG+13KooEvoWfvzvVQH4dUdRf5nKpqlep6gfuaickC0AH71Hk9SW1UXLmWJOy6KixAr4HMzLq21pGAjJ28vakxZXPyPfktO9/LDa9wpEmaLrIXnVmDiiQvUW3k6GD+3ox7qMBW7AXrqFenpVMhd9WnlCj9oD/L2JmILBr1nZDF0Z8+S7VMwA1hBOFZygKqxSU1F5NOEMHa3843lm3qIykq1gy687EVzlx/Pojx2m7syrcwnLJCF60bBy0T1eYjyVYnCoRCf+6EJUHqCHEKmVC5ST8TB5z61w75gvHsgYAFcPr/k5WkJdnLnjoXvk7uOaaiVisCwFHj/tBBrFkMt+gww8obu3BOoQwJWYQNHteRwOp8ucK9JyJEVKWTz/IWDCeYHW9Nosd+VB6TcWN6VRDAYHCqpaJFZHJf2nu/i9IJumhe+jBWToyOSCK9DfmaexF2mjjQGO8arUThvINDJJJckSs0kENpM1QBYvpDUzItwPnFELr4rAfY2r8c0tJjHMCRhpGjQL9eEKf7OWHrTpADaXqPMHcAW791iON+okQazoV4k7VlaaQfwoQDofJ1RQzyhtaZfdiQpdKj9ZvFXQUmpnILhWWpY+CY3fkFeLz6oYP5n6+4pm7IdKyDdJx+McBUkXhy1Vl2OE6kFhWO5B7c2pcSmoj7iJLq58TRXKDPmU56c8bhSc1TChrHrQ4najUn1EwajGYdqsWLcf38YD7og2z7E6nwIaS/JbXdKOY5kwmyiScQ9CCxZwWLLE/pbB65AmfhGXrr2xjgh3hp2xT5HL1r8A6SHzOSJtsgTerT3LJ46GPpv3gUPUQP4TB0O4gP50XXKFXrfyZVQsIHmRyan+w+98MW/QFVLdcdqc4bZ42z/YNaEDdN/c0UCRaearK5WdjYWDqD+WbjfWahq9iAsarp/aQ6D+aTvs9ACsWZhJ2W3k4PV9YAnu/zXgtEA3fixs+NXoT8xGenb/15gJO5kWQClhje9seTd6xp3kR9umd+NSFJ1sfugKeDPpxMnc0umxVZPYaSTX6E606fT1nwb26WX3p4QKe50GhuFQ6Gg6iYiBnC82DQNGga56v5ignA/jy0Fhfpx3Sda32KrcIPL/5ngMiRK1nXtFb02y29ZyDN7ym7wnnhVDgT9yF2rt+R2gwP9yvQn2AgCz29KUVKV+/eGM+FnJLV1hh8dYNAiE0usulbccHxUlEYia3b2Du1MX/IAdK/thqU7pZ+Bjp/vRfZWJuLKK6W+/soa5h6LiJ8nr6M1Fg1SUCr+4zlFUWRExmkpV92HJjW78t+7n3AIo5R67CKrnSZaPElYbZ/Pm3cZv7XE0jaDxisNfC6vNJRltlTWuSMJbY35EFRkW/PWvCz00L4jX4S6/2rLqCRxk5ig4mZX7NWDr7t2CrTKeew8Gx5E6KNnLnTVC766/IVYbS8064vwWvDZj57/XhQ0fXOUBKI1VRQAi8r9ZCdV0lQsOy1BgJFHU35gy8nLZtp5H/VCGB2xdbqardN9S1ZiXBYfkmf9GmNN15dk8m+dAmr/88Po4LDfShBMB26r7zj7ATjn7ieoT3B/3165LEOA8NJA07rZkZ5ml+t0ip2fpS5XwHT81MvCmYJziu5rPAM0APtLuYm8K2yCXNFfQ95kYjmLSMobWMwUyQz3a0bhQulJkHwKUDDeBWjlt8RwkGqcdr1VWyJ4GE0+ZUFlm7x20cPmwOfxdwUt5yvrfP047MmIz7gf5C4d6eSMtQWNGgf1Vi13nWVwBGrHdFdkj5O6Wqc/PyKJ2rZIvA4naEVJnG2uGDLccmvbl3lwD4ElxRkVelzY8s5TDiYnVegR7VJOarfV1nlqsZ2yquLL0804IhaK32OguEmllYd+USdV8X+qz8DutmMKRskFWllZV2FMSUiF6E/gwqvbvAQtzzUvKzYH4ZL51Vi66/wfkbEmKl1O+u2sSn8ADHh89H7ga/g96/dVCgfy908t6869gIp2ZAWYrcYYKqD7ED2CywgQ/RgzvMwKLzE8wfirF+De+ytG3MEgDrUfd2b/E44kyjTMqpGZJetKIURdtwgc1AZJYcK0bcW92cPpBDwJLgyE6Ou0KuPOWmvig5xk0Hy/Ser1CPO1Vy8GiYsLRzRJ+co3QvRtgGrlbpTwUnB9xBaPvHW3QVBkf4SAOyvGzIvGzFaJU4ODk8eIPHN1VXXfLsDAyTzYndHZQR9HCZzxy5UyaYEIvDdT82o5/lZUbioFGqMb8ZzwVWZzttrCNY0ftfZGQIT9zGzD61Elczbbq7K4hQ8Tqmzihd8RdddO17RZFhMT2TOAyEjXAWhmZ5o4RlqFWB/HKyps2RygB6k/hyTC2k1y6tGq3nde/IOGKGKAWNHvfSop93WQLdN6uob7EzSEk8CJUNREQZBruUwX/p/ojxjegCMlWzxRnUrYBehakzgIf1NHBAp8QLUnMbFH2K2hZM4RL0PiC2RNgc8uiuc8GggY4TxncR1iAWAuO7XWRX/VPHQf6NTQGcX5zN67w87APKB3Y6p1PpEhyg2U2OICQKKn+a3xdXyGQou9aprzzcLOoZJ2/KUlCpSmlX76uesyD8P8qAQk0XG8SIXVbp3y8tIWboBYK5VHhTXD95xSgE5BXzQoDe1SV4IIMs7u/+P4HW/rJKkRL3l/iCUbFEEXtphPscMpPDgPvGwd8Hj6T+4ZJVhUtwZQ1/kdIER+Aoo3P17E6oT+JH7pXrJd1sdgPyAkCKwNpjQ0ZNnPvgbUzZy60627Wd1JD2EY7V2onlKEJzQmyR4EFT+kcY+Zm5dHF4J+w8cXFARCan7kEpAa/oB4Y2Kejek+jpu+8b0G/QwGiW2eurFfAJJbEWO1rF3XVKxaExaR25L7pz/LnA+7vKi1dFPLQRGh7+Eo3idWJEAV23xMYkdX1rKZkuf6Dy22AGE31alxtqLmJeNXnBWwkU6kE/tGTgIgPd3LkQUzGbdaY+YAmcQwqQG508t/P7cKAdKZ+Fl37l08/9QGoQR+j1uZMYy4C4hlP2bPsNfCyr8kNqYWJtr+pKE9612qGjgwZ/X+Ebn6iUfjCId3sloMODPN1hyIfdBtXjBbt0YBV0h93PVl239rtq1z9hc+ERa92hSvL4R3QaCh3buVRgm7R8CLNOpkO6Edxx6XflyLM0DgfirHcPTXvEMqzF6odhCML3C88vNcoFRw4wdym7wrMRh6ALSjaTrL8ChOu5RglG3o89ZynuWQH3kV69qiRa98d/afz/Ru7ZlzmeaxbFEw2KFkH5udmspONubZXja3eQoBSAN+Gn+Qbfu7idjbMe3ibJCAQSWHnJlJIgT+Lrdie6csGw+InbVKL1H4eBovNZFRul0vY+p2CsxrO2NVt3ImIWKcwdAwcTHFaaAj/6YNFx6oULwciosnXZerWZVBQz5xha7uX/wpQmj9n1Vt/CKFvnuHc59uNAUsuRO2PjgpT2ejqmibgte7tQG9Al3LOETx6ObI2uDDR5XSUivbOGWRBaqKSs+cdoqfTL1P6/IW1FOey+atlm5/JCxba9S2C/YH411X0YBR7ksb9VwSsetVs6XiIhz8wY3IJEXM9SX9QBY1U7YLdfADprdz0sWASBBmLxz6IsporBHG9U2pnWz3/3wJwGh79KktMKRx/yleyU6PCsyA1wtU9Qgtro7O/3Jyq4aYXXrsvYyehPbB1V0PukTKFkKk3l9pH0Olf2cYXX6NKFv6tD+3yXV4EJPmUZLUU1Baw8J65JdeqsQnHXLKjujbfzZuyXOXDMlT9pwdlu//dvmF+HqrD+XItfKH8YRd0z6kiq0RAzupVu56EBZxwv//1/sUQ4AD0Fl0vwP5kR0LDH40BahI4nhH4Z6HStiZFp8p02FqA0X8l5zlhjsTfaX61UDMBS73J4sLTuNambPWT+ODmgIsqn6B0rKBCiaR/dwopYsbsg3EL9g35xaHymweXKNNQ4faHWg9PTHXXukPT5Nziv0nV1N9IeDWH3cmvsy6lx9VP7M0vM177fpMaW4xRkTrjAs+x/ALSmiaiaSzHOlaNED75dqMo46peNZgKvmhDXhVK4FH4w0XiF0e0GnRLyWJ9sbqi9Buos53jXR4fIhV3W/yluwTQAu0U2C7Nixt7iKcJzLtOTPC0nFkR4BKqlCRhqYg8kLrWBS9Zc/Njv87Y2Iy5aHdIcpytF4Svk/s6rlaLD1YbSeT2qDCvib+buduaM+PAQbUYnifxKdmyKEatewCYk5wGpHvChdLWtaZ9SkLxnz6GgqgA4UwMlMcvlaseU5eHtXWnG9q0EiEGQeBoBe0kIeVkWcNclyzPQ9p55JXEbqYUKa/gpvydA1G2DDW/3WV4E9EuNY40L78ENSrzLaU0qJ3gn2gSCsLMOfx25TOd7ll8OEoL93PwpS2/VAJ6oJkmAdOrnI9S5UFz60qen1N/CGSFFWWLCn2/JY1IIpdSIe7Z7QROBrbze9Dbt1KGtEbNjbg0m34iePUjX50U0zXlBqvEAxG+Uj0lZDlyAxmu9PHvxr1zMzkpTllZ4ETIhd5/VgCv83rSXwYStGG/fG2n+LFzO3f76fjUxaHkbnWfeqgIkd8JM9KkJxZjpfl0eVs/s7usFt1G4Aaai3r8D407saSq9Rmb1Zu7eh/kDHNpSz6JUc5r5zwa9wOch/jznEAer8nc9G6t12zLd3LIkRExIOk6VgWaMbvPnvH9tS9e9mAOWgziynPbUFHd7LtEMK/CEv2hWDQU8abPP3T1rdaFAXA4u7jO+U90R4BiLwpU5ddKxHK8y2N37DD4jSJ+mSbMnKs8Vw8kokV3wztO3ZkX8G6swvt0dXB2dul1LsV9J8uNY2RP+AL/7ZWUL2HJPsr2W4hB+XfP6PZaOMw8BgxM9Idc3GPjY9Xuku34GhB7GWJrB0FMCkleYCfzIFBC+M5oz/I7yQZkKZ7drXIqlxkn1rziiAAoEk98+vmAEcNQQlKD0+om5Kj0Fh0q3HKhzW+NfHvHM+5/9a3D1EpJiA4NGb22wk2sxXgRg6/trwwJ/YhQRJoVOk31AtIZOXYpxzqZFVeaSlzhwDE8NYgGQWsd18jJ7UPVdOPKzwvgGZnpNe7CoFQbXoeMJpyTbKuJKSQroMbfqLuf5uEiEuT5AeDUT2KGG9D1NGE9PkVIwfyd/yoOEHjX4IA6nQKSaznmoRFpdON8cSWDS/NLZnb4DMSOr0e6XOM/aP/18Dyd2Jcll7NY5Mt/5kiSl/BbgXx6cp5fi1DedFLAXLofXFsh4LKvYDnBUrizRdK2xg/1zao/UuiBlVbeOTEoJTAXNv4HtLfU31PZMeQ4ZePP7zitvE+21lKjDHHNK/G8AA3rGcThwPExNGgHp429gJYk3zXFRXoifvrkGekgU73U2Vkoc2v4mnVCVStzeaEhuIPUP9+Wdx9QvN03M68mSoVqc836HieRbhCKUymS/mpzk14S3uNfYeGSUZuim0QO7CqDYJMBE7OsYZLX3nnzw/BHDYkWZ/WQP0zKtmsyc0eaJ2X6C00bNzxVhGS+xVX0rPlBFp/PWKG8EjWyzi3JBLZ8UKaDhBhtlU8r1hVZgzuVQ75Fcy8rYvSeDZ3YUf74HZRQxAcW9NWwumD3c/LQ16zDkhIZhO4RmiFphgyOlSO3Ev3RXafl2n+XqJSUIYzvc/4ARQQMRvXrQencAuytHs42A58DeyUqi8Ghm4HdnMrTWPPJYbemRmEblt3Qa1NuqJ0022OPpDKgLgALZQgSmXkW37slhE83j0Thty33pG1fZEptllZL0aPy/0yU+NTx19wkcyx8Kr8za9qY5L6RXuJNUseQcr2U7RZjf8kMLulxyzwwdnLDzLwvA+yzLVGNkLDNBO/ZV8zPsTTu5A32i5lFuA1TaVkOtFi2I7YYuz6RVuQAroon2LGCf1N0939k/lMMNWAynAEZDlk5qq0b7l36/nsbnp44Renq+d2wmlMZ0Py88GIFVZU6DJ5VqC2EeV+OGdkHfAb+TD5m4ACjgyBtimB/gUnCXXB1GlgnWwt2pc2bNePDpocyV5sxY7e+6ozeqUPlpItg3UPXu5rfmZE8dRhbtku/niy+EGuLQY28RHfXat+vZDL5cDY6O+EhhOXHxE1SiNw6Q4X9JHCE4IQNqiAge2Plampm6hUtug3lcXSw/xQvN0c6tH1dg8QipW1UvoxxyJhUY2zv2VA0DKr4mEpGFPlvlPYpc6yRsHsWt+3VqqOHpepD5k4uauCs5yY3d7cqKkzuc0jikB34PLELW/DF4cVdhOFxZBGaAG/lW6DKgia8T0CXFFMpwBnZb3oJAUNweXL0GQwr+LAzWhK27fYMAuUzELy6RmkFS6tL6BAdzZxVwMIO0Ny2lxtiRnHNJawc/yxLvmbEig5wPsh5kLRzpPTv8aaOVZXpWUWXogrlB4Yl5iHslGY8snDgB08fJ2PKbTRjb9gTa7AUL9Bg/Di6A1bs9un35b/mytf+qps7GJCf+882Ot5mcWowHzwet5bUoaU8MG55zdfCXzYwUH+om/uLjaoWBzXuqHE4zf2zPxpcFMKDQ4GTr0bO5Y/gdPLec2J84lZaas6kr8tKbHlKygmRHVGtgchyMJuOn4tTxqPLf7eTAbvJE/Mc+Cj+rLSep7apm5Q7o6zi2MlfBKse1N7w==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UcjL8kfAV6PVoSdURXX960ZMmHu3QTpEU2hrD+ylEWkT5tHWtuyifORIUDrDg5v0fVeX/xkuLP3ETFgBF9Ds1NNnhPsSfxCfZ7Hk/etvcl+ZzzAcLORLzQCAwxFCR/GtHYfFbtbyCZAPQ9rs7STk2N9aAS2NcSR2BiN+urYfVBujU9+9DS0pmxz78fcCqUWIljRnKhKIP5DcLSetYXi/Hwgt5pEYTf0UyX7Ng1sScgCcsNNhDPva00r1aAPELa/RZwh/6QPgLHZZNTcjKXG5maYJfCK5MMxo8ri+Y8SCYS7jmXQawJM8eWu7FgWJP5dDtsdxkpvOxdhev2cDgmLW3SwGxeQmh54+SSFdYi3vrc4GFx2mdJ5mQnqKg8Cn1BCGOpTDOA/BqMofnZdxu2R5JVfk1xWx40GoQDO92ik9cG9qmAyo+v1o8wf/cWdWe9t7iO+N1ZqfsRleqP/HkvmS/80S3Cz1/05IZDxHA1+ll4LoZpG008INhrOuswjqVawxj05LKZkoQ3AW2ZMf26BQsj/K/L8cn1xKnDV0TZi46nfquZcSTKX/h20AF32zq9NQs2prdDE125IS1JL3Z+COWXX35vnbg6TiT7Z9CFoT28bQhJvrVVqT0Yg5wYOM5N1O0WBajv0WsEhY3M7vRPuoiWD8XSARPIdetzZJsN9bwVcRdAAkV08QAaXjw0Rxmrb6sbWCubWJ/m3+OZ9xgJ7DxK7YLPtYfpIEKo5w2wMqyY8gNt++hlJA9rXYJpwP6rFVhXpd1odiLPJ+qDyzaE8W2Wq5TxP2GJcP29DstShfp73jYkREWZUJBeeCs102fOsbcDZkqdpqA8KZGntb1Jsc1qJy8q9YKW0jI8CNt89cACvRAK5f97EtvbNgLucRcW3oltZ4Nmjr4OX28jirG5HC8/Zc7uPCiMpiS6r9wpUBKhjP4PJcBjtqFbYXRkSOv7ac5DujEKCKKzdHjveD5tass1yYNEeK/hUJdTTu8TeTdUcr8c8Lqa8y16hr03toXe5VXrVxvygMCALnvbbrplXiCkG+7S8vfp/lGCf+a6bH7IGAKUoJQJkncqBLV7ddoono4TYQtQS99Yw4yfqLVpudfa2m1w0ZZnm9ExJXYy6Rzdi4IacGp7vJYS+ZzG3wv/BNlSf/9ZjUZKVYm4729qJoYVvRbm7FGXh2wwRVJR6WXFAq1qxfoDlD7a18sshyPcQlCxfTNZIZ2DmP37yXRnvzt8919kS8vJ+ntjZap78gjy0cupREKL3GEQMUHi/p9cMFvlZG4yOvGjUSVe/9gvFNyQYnuGPZNVB/ht2/4OkLx9MjFWq2Rto9lDQbwokpwxqf0HYOAOD/FzAb66FebDo3aIzBgTidB8+bGQOj8iX197R3rrd0NWpBH7e37lCd3p5E/GNcsoBk62BLUSgjv+eL3RJ7sdmblhTRlU04Ym7N7xNbwN+hgycGJ8uDXA79t5AdTQn2ZfqKdZpmU1MFp+jXP5u00l1XxOIZMp8TsZN1NgxG80SK1VY+zwiQ2omyUSLS9d5yqLGGYVrftRKO4QjAC+Xfpbksr9Euo9nw9ctux2gOm0c/YVkJe5Wsci7Cm1r/S9U25yELUAkS0RRdRoMrCQgVcGnkhPypXRP1bL9goHfYjiUk37V+LbJWyIySrNgesbSPGdVfnM2wUKjbVDxkr+E5bGnsvtslpYcgy/PW6qp1hkP5XScIIFBnzCnJvLJDeKspxLylvu98e3Bus3rBlXzomqcsdrfvdyvlMU4pLUhrr5I3c6UJKLXDqGdYA1H80ET1/Kk8od8n8T5kZ15FWEwme9a6szJxyVuR6urgIboUlaxYpvbbtkdzQAsKszmEhB42EaqFxuvHuGEfopv53UkjkL2hOdeb3pdOCotAxhuLW6LLalbTc14gJW+ld+KB3bzT6XTa2dNnt55VGYNajd+tjJbkglgOHC43JebE0VmfxvaIi9w492cgjexpvMywg9FABBaoVX5pkeE6w0TJ6kUpXzkm1ZY6DHs25KVMKnUY3+iAWTvuZFKeqHMA1xI3Y1xE/6jqfOTbV/P7L10UfztGp4IeOa4oWpMj2TmzqysBdDQKy27kCUKEFyfkjmMrK8zZaskVZpomz8628w7SkFEfaoJuetKaK/CGOkFD68Qjce/uDTBHFUqoo72LKdNXQCF3YP8N+WHxH8VrX0IIV4H5xbpzvhE+soMIhgQY4EtfNkA0qdfswQ2+Fh2IkCRY8LVb+dUvPWs4Z/sI39c8cI9AkeRHOvvYmkgQtEak+ABA8yC0wkNbg95iMQQwcSkTCVNjVrZY0uoQY51FAauEqPxhNNvwIpR8F0We2Y6Esm/PyJbyLOX3grPX1uIvzHYwx7bFkqKo3K/MvywS754Lt3eof4egxnpX5u4oHOGVNoTOlhhPSlxVlJ9Bpd3ZmQxBF8Eemmw6xzrmZdy2m95JV0LwmX1047qi/uY2/UiTWYELtsOmrVGUSU2ebCJIoHNJ0IETDJdmPlCCFVRLrughUqLSYflxcbCtnpdsquW7zpKJt/MlBcalyOgsyXCx/IuJpcGBqtnokH0wU3yo+6ueNk4+H1Q1JfOY7WJYHzuzcYFuY9RjnQstEjqAuk++5ySrXNmlnXShhvfjk5Z4U6nC5TdbX3V/f0l9SpyPyRVdguGvnbAPtOinxSC/t/c7yIfEpNuBwk6GgRzhJFk1Re/GKU5fmgvoUJiCeUmsHcnD+EFdy11lxnmxeNb7m//FDhqL7ymT8JUOa9xbNMxeGqgcxU6cWUcmb0JsPEeQ7rOusuCk99nQux9TfkCiERF5vjzXdkowV1081YqrE0rPnAaPosHifC1BJKn/J8A7IlQzdWpKPjznz9p3MiWQ/hpRcmt9Ybi4ch9YpYitVyeWV6i5605Jq5ruDoyA71pCDVBen6o4Y/lhHd78sb7BdjxiMQUwScvOQ4LL9wvfCl+8S7YS74axR4Qk8dpPu+eIFX03S0/j6mtjNHAFwKOV7STfF0IW4wrK/q6jz1OkQUVS7k1CtD7mS5DpeanX80gTvI6u7CzDedQFhTiXtwXCpVNPsdDQoxhdVZJluhzK56McDTuQWsQmPKza/8ic357jC4WYcdFIBldsNUC5rc7ji3gLfiLDa4M3WbYJq/aHWG5WOkHeWJwFDXUAf3AML2OnolS1chQH3KvK9FMYsBwIZntZXuoJZqNJFQibECtzG3XKgPTWr4SDufnLX93MkHywMFypors3JKKXMvE00DW6ueULvQDa/3ndyZ3MmqeTf8IS8+HRGWPg4+ZijKHRePmS3/Nt1HtpS2wOK0AdmgO37/ps/5l1qtsGNjb2m3g/pKG946e3i2N9gNBdxiOBv1lqcgzNg8Sa2h2rpwM6lrBnT1Hca9ptdZYmDM9t5AF2aPElSoh7wcg95e/HuklKMAAHDfCC8xs4X5pEQX+DnpvPdkV3w2Bi8m5RHUwe3CF6WeCKjFeLvkUc+Oo5OjxeyR75JRWyalJb1RGXYmojpsHzXtFjIZzIegMix56JWB7GI0WsHU8QGLQmQHzyuMTBE0BZrCf6RW2qhEhl8LI8U5QLA96wc7M/nEaPxh8gxUNwqkfXTn5rU55xtxxHJlNSAVcw3hJ2WrU/l4j9HBDzQ892vMsujd2pNtKmOuhNVr4cQdhEKi05RM7zzakaXqYA4F9z0XaIG1ouhOzpA1OqLg/H2VqFoAyuT546IUv3G4C+LupCC7OwQAarqd3kuKL/GqJhhvN7b6KljrKBaEANkWEYp/vA4j5R9W7ssZy8OHO3Pze9sMqjsHF/ID4e9PayLwEQkvV4cKCNSU7fAHUhj819HZWT8vII2jpEyeMtK+dgQCGbCbZyVOn4nYEx/wOlz9hHZGVwGPeIIHYCNnpVpzr42qbobzgbGKBtTni/YFzIqXZ/DJGkZJTqpt9chBJ1i7S86T2DeUY0s2BI7hH73R97aBR7e/r8gTBJ+hMI4MXkvEFQKuO30BRO7PevSp0026kmN/s/3x45TlwlKgDkgHtHGuGiUTKjCLIeJD2eCheeU95E2W5n5TOg18733+wuabdv++X6ijZjaRmIa1kTrmyRXUZrGdqOuvP3fY3ykVn6V2nIgxnMnD6wxEdJNWsEV2KBjZT7LVw8BR/kJP+comDqoMVqlVRc5ZcpFWnusbtSqhuO03dqJOSGLDOMUMPOYlcf471e6ONKF8CihotCXvkslbhBiXOB2ba+BgmcCYI2vfG65EDl4yacNl/HgTA/910OxIHc5nB1Cvq10vpzg3yOO1mMrdgZ0q6tPiSFKZtIOA513R8GfcijnWkaWMpyZrC4z2IsOEMrZVZp/Q7aGXbY7fnfng6pZSy9z1Z9w1cJ5JeIhywzRCjHR6O0sIN2XQ4XKi4OLvC3EOJWv5LWT7oMCztcmDmVm77RV0uZvdnSnPSpYwTr1fUNrJHSOIaQ3dPYivlikr/tl0UpT6eNyxnZxAyDECUwaMj43IcWca1lb8F9Db1jxw9kcNsJ0OrHn7GQ15lGneGy13IrZBvbv9nwAF/3gBx9+0vOXvIzAnCm3X+isufjPvM3D6smLYHAare3vjD0j6Mh5xtYc3mTQP4+Kmsr60SgBYRfS53YNzGmCBMq3ogN+DEsaw+b6h/+yqM4WSvxE2jWa/shs241FGgDHZur59Zs/SIU1fX9fNDEr0yWxb7LAigpaIIhOqu0+CoL++Gllljdl1QWaiUeF034+kvRJNbe/E8zkx4wAckkHUVpqeYsZ8wL7Nc0ZbCIs8AhBijYC9gfLMftkVX6WaV0vApkz5PSfs5YudCGG3c94fWuZ3z6MrEwGwbKiZfnmA1o43qT+TdTI5PBhb3riZPOXF/SzqgyuB1iYweGJ7fCKYdHv0vIoSVnmZB3akV6fZkyr12tigQWJ54YjzQBjT0kONyxQvR9jkHFEsYDA8Docy8pUbKdYK90Ql/q5NNFGP6UDXUCElCE5pIrGmNfa/4i88hqm/sVv0Z8ixgipb0JWtNz2x/HTjejR0YuwOu9CtJlXLly39LQl5v14zm1hCMC9i8Yg6hn2uTSb/xpePBMjTmJWilf/Z2yG/N+0l8AWr3HyJFr4OLAptxW5TOwTMxztwoCPxXbyiEwTGpox2G6eYcGaKMgIJwSycNbdktH2jWJ7r50GVltmvVjVcROQot1OxuWHPMjIk2uraul4s8CqbtKivXB3eWHaELytkjlkdyBdnyHkiU5FyWuVSk8O0LXkzeSQ3di1J+QGxlP81cSaqoM4Pc5KWIhpwOVT2LSi2pTIXhwQxgekSZPNiqE/cf8vHW/zSUNs7O4sPq2Xj2eiybYWGcgxnnnrTtoTnAK7KgNbN0a2FdwK9qLbEy5U57eY6L8/XAf3dZndLsjywr+fNyAhK8K8B7wIFibewFugShNCRiFtxVYahtDnsUZV+kox9ltltnM7R/87InweL47faCRIza4F7nZG+VUDzRzSKEKYTlRwEDR1BxxR9PRN3omSw+uYB7DZQho15DeR1AIGewmMRf3BMBJPPqaQHt5JWQ2ujcxrN125ijqNSGn60Pky6On0lU7lw7kernApb0R9/Rw8SEpSUASaywHEH2PsvwwXp3GFZOP0jmjYX1OdZoQxGSFMVIxYdcLJaby9V/XSfdR3dywAo4vzweovfwRNBXCOCfON6/FDHmK2FvEJ9+G/Ji2fXiLbtF7UVW6ZGB+K7birDR84vSoijVieoDSUwIhBlVQGo41Gp5ESr8gt9j3OmC4J7gmXNfxE+AjZu9A2Fekbr2Lc9jGMDt6TgoueYkHsWF3LAh0+7+51paj61AnAx24dSuUCPTbf3P7XM3M/UxHqdGpHYsVR61GiKZ/8p23oSYgmN92LILX6zv9kNgkfPrumVyoD+IZja6H3n+25e8nPyfS92NcNL46ixtaGQSNeMHkI4YGxv4rEIn/PWiNrysgxmmCr9MfNlpYjuxu8o88Mv0PyQxnImtQVFRf6FA7r4AlS7wdoGU8edQH612GhcYyZ2U+6oM+dQgKK0ksywvQE2rQmdz8aKsiuzs2Dz3wdXb1BuGF1nN5Askyf0kKEdP8ymB8o1zVbbIUuITe8w85Nq+fiqvmsALdNw0t/3L3R399FNvfd23Gpx7Yx0+OKNnmC2b4g6CU0dUAJnsUyo0n9mzVxF9U1tEGLzrJ6siTVhUImToCjTKoCM9nM+veb8mA/+ITx7zQn8qG9UHbtRJyE33qUHcDex/7iW3z/LRs0GvUJBkDLRNnfdt/5m46TZnE4/siP4zxXptos5fZlZzQ/PUx1jbGxxnkCsQb270mjWr4n6vk5PIC20xu7VVpobohNPEeLu+eE8JUZsBOuqmFaYT93NZI6xKNyAEYFdGFG8Rid2DlZ4VpvZYfBE1gI6TquhxxxJMNZAWGiRmkNxtK+62lSd7/v9ZuKgsnSAFVj28/xm7Vd1tqB1nNUHS2tKqv9sbD3mLTZsBXKBfLpmQwmu8AgVZgzid4hFBrg1JB//9rpBUbgQvE3RDkVnVdIFpySUpJADE8c86PE+ANKoDx+6b+KQKvg24nSr1LqhNwE8h9dGCE/UtbyUQPR5kuCeVhaOWaqhtIyHUjiZMo7r51pl7n6ah+sgzy3LlsRtpztkLCCmkcEHLluhRz6A05h9qM07jOPPxa4KSNn3yiBFsTyRZe66X/fE1fJc5SccRNxWXdnN8HQqHGvjz1kDeGeiPc50irjnPSHBTlW2pCq7YYu91ScpR0Fuh0gILnWPTlsn0up4rHSKajgGUx3ggyPZpmbRoZKahIqklnxf+VPkE/GtYkkWXzokHlGEgYFMJoVwWY3KgfveeH1MzPO2hNvOq4ksQRCEzPar8qJ1P3t47CfmT8S79wQ55kecRYrCoYj78TAcLrfsxTTcolgb8/O2yef2X3AH8o2+6EqgqESuld0TQIL/GQKnbduukaJq/hbJEKwe9lP9T7EVGnx9yE2kXW1ToVhuMqt8l3YSgOiv7BC7ZZaZKlXwc1Lwc1rtJ51BSirLV0nmgZhkNic1WHXTXSsRMUyVAhsxjbM+qMaXRCcLIH8jdtXZaAViqf68aCJUzIvcyL4uBhuRzoA+D2qVGiZRxsF+0/byTE7ZnXNfSoQXUhHM9G5S9vCxJcz+sitTlrJSyCu/dzRp/iYiZqUenrtvjLcMS1kD0owBeXdDqOj8Wve60WbNn4XFhZ0KrXmi+vCPtFODT+wnK7pbSTsGR8NUmd478jO9z78z4lG7C+2jU1PJH3j1hrEvKgQCGEgRmSrELWfDrRoOAixn8MlehHDD0F5nsBnJA9YfmI7d9jW4yjGK/bKg78SVJTz9wepZk7oKjqUhgq6RGTqS9JPA82EpQ5QqrOteTJYbQmc4w+E1NPTQHzc73xHowC2mOYyix6TYwW+JaXE+GL7LjSD/MPBLB/v0wgTC2LlsEKAopmS72oOIFWJbt9L+Mon+1r9gZ1bdo6Pbt/qkDimaMdiVrSZSOWnAjpf6CGpSYMnerenpok8huKjVLcVxH7rzXF/csW8+covPY1LEnFzI+iRrIh2yM6YIKObDJOLpS2leSakGkTe467sNgxAwIb8qunT0aIyMfb42Hd8/ItLgajO0B8wNtO53orN9slLiiy0spOO7RIiYR1xKZS2whLTduqfOydjRjfZaevTEj2CM9fjZhs0FWAz96cFKhO6Pmy36u7Wefj582B1uDcMWAc7RKfX0I7rficBRQNjeXMqmUG4ygU87cw7ca8pvXgTwjQiQBtEEHhCk40xDyQbp7OR7aXe7SJyZ7iLp+ST0TTdKBHYADE+gkNzNWKxzuG67Rn+8J0PryLgzeDj7mGO2ohFWHLzX9RzvrJy61zMAG4M1FHK0I9FCFuY+fB6pntq72Fie/AwhxR5ND5XKFjGNV7YT70N6AjNgKbScgnF0SzWJQv/7fVEyyj5mPPE99sRozl+x9Bg+j6dvnJPZ29XGruTQ/ck3cmLg6kluo8C3NiQ7GHaLuyKsCI3D/2syGvHqmLbw5UOdmuOXqBAh0X2oaP+4YcpgrZ/C4CdcdxpgMqGlMyuL8DqapUQhjdNYL2/ggvA5xLXOBSmA/NqBgDkUlIehKMcJIhXPW6rpyVxzC9Bj4Mlr3/aTU2Tzz5mXYDjM/3emzc61VgKJzmGorRIKy1HtOEqrJPbRJJfSXzISCX65OMMzahBihPMqpLfgmWJwi5O4f/Tccbo4WhfK/HhEpld5DzsX0i8z946rCQf5S4bw95LA/y/W8gjGw4DjgPkJEwZqNLHqt5YHAwiFm5MSZOTAWj1mPhdT/DH9tAx/gzLq9S4rdM329JJNNGC2cR5jePo/6of/tNa9E0I4z+qJluKan4cVuGKwyMbhurDYx2Ab1udTjp3eFMYAK1kgGffZaxrjuxvU1sJLF6q5NotQ7dq16u7lqu9riTGrI6toLqyi2NZA2mS4qE/Vx61gm8ppdSIlRMbpLzMk7dg8Q4uniuW/DekQhrbubBsjghJA1urbg3IZy1PRYHvtrxlNl1i4YMUQwnFmTt/TMijs72p8ZG9Szzo6DyBHRuJfmlWsqukfAW2tyqHbAaGRm+UyVnogC4j7OLCSNZ4tp+tzhLm3TBRxEHqEzedBAd718EDGlq+WqSsqZoOXZLxUpDEeiXp/dbiPaOpGyTKmzTy7QQgKBbrhe0wbWQXkJcQkbeBsYE92Hr4+IGRw4b5V+7E/0pOJ5H+6HAHpO23VS3EWadrzDLyMNvFlWsEUdZqoD879x9v9gLD+nTw2EWQN1D5khDaFlpa1HNYbw5/wct4Bn2z3+rlhKlIs75Tz/dlv7z7yIS5B6SCwrE0H7iiwrd0ErVZwRe+GVvnJkriXx2b4yxvm0lt5paLIR4zCW2SC8afAdXuQMSc/FLC/rgThxLBHtev2j2rLFeJJdlYh+Zg3i7oPwypncFBhWxr2MiyHZywZ1crzAku3oWmudWUL02W+Z7dqFnYbNUqdGzlEp2n5S7SXaaOwuIvQiEj8pOhG5//GI1D4hSleFRqhEheoBUsxF0gm4OcfSmZnw7njMrfa72pvvDZjf44wMgY2zh3dxoye9oLaYijFY3iq28kZwTthlGuQaxi+ADqM1GgBMLQvhj2DYdeehDp3QTrl9Mw+o9ZSxalf215a7o3T/cV4/iSZ/IA+sZZwvTn+aVraLmtLrGCbo4iXNV6bnyHGIFOCCG+pUI/dQJRJOL42Mu/C/49ydy4g70ur1BsSuJmo+annz8+0/JsvftlU5FbZ/Ida0W3hRRlT+osyuQAqqFwrpmJ2kUHZMeNJe+eqkOP12LXJu/cWE0P/J2S5N+2OB5TcDPjq8oPMdI7/4zcgWLhmSRDk/HiAzHxdWb6+hugDXhyO+DkdyjYiOZzn3K9Xz/INJiMLu5ocTeJ5eEccV9viMs+ZupZsC3TEyA1+1uzHjCJ3BlA0i4ZYLuInJpXFH8Lb2TW0oxMGVp0Dpcjt+SAVLvAP+qfyq9xKC5LTK4uwLeqxUW8UWeZr6VGCK9uhGUVXB5mopboBm0HgoIXz1GAGu2z/tj9S7nn1OfAtiUEoLsUVbTGlqk6f9UvTqAPYsPehFoZpmFRCDn0SiWfsaDtysyzLMbwtcbPo7Cg1keJWEicG9JKcYIgDa+k5FwHwnpk8NESazH9RPKOOlXS11ryPjecqlm7S/Qr5NG9ExyA4bEZC8CnQEhPg6ywbL+JJScW4WObgKufIXWufwK2Izbr84FECrJPQPU/GuvLb888IdIzPsqjz3MmtoeIq1WrtnoSfbPUJ27L7fC0Z1QN0wHr2i5cthJL1yYCFjtPulaj3/y9VURER8cu4ZjiVXYkHORkTp51ig8ellR9X4VTS0gS/d0KvU2++bShwG0H0wtWcHOJWiAl8QW/z+nQbr3RFdL1o5xK7pxdal71frq64JLPTm6eyREwUYTNqos2+st1mVoJsO2yKvMB3GvjKDDghy0mJ55Iye+JMeMk7fLJv8FEWFdOkwJ7Jx5msfEwvDHhW4650XMaCsA53Htg4hlHnRp5EUQjVi1Mwz+W9kKs9eTZobPpbxWs5wWywRpCQR8pk78dbNUCfHAfjNfpHv5o8ukBTqNUfW4knBvVll1ftQkSgTBhpz/kogvo02MNLF1D4ZYxfgvVscpC7mWZiP8dgLnhJ3Fw8pE3CmuWO7ShTnkEgTFNiSO3VsTY26YVkOxAjdPL4+8nJpSLEUzBu9rD5egQyq0q+oFELor2y8fX32BrCTra0lgWWS++lAgofVjxq6CGJJ3lIw8c0orni1qqD1uFSDeloi//iZDm7PCRmAn3XxsGTgRVxQ1dAmwdt1bZ46J1dAu97GR3cBXfb1DpptJW4H4WQ2j2j+i8DxyUdH2sFleQLV4cQ7cC4sCMHrQFRhfTg59/QXTNM/+JDJvVo5pwpKUHgVEmeit6uvHet8WF5dH3qeZ6rsggj+UzlMHPybjYZLA6Tbahg4efq1SZYjo3GE4uyPRW1SfOsfVmqVX4121m98El48f51JnaAKKD5wOuujau/KElMwZsLFyrOeJpeNtzNd30DebxBMfJbyNqK+1T235F9y+XX9W71g76AP0KEkU8k7HWeiN8sg/lSQ7ynOIuU1BDVZiBwk50+x5BPn2eREQc33f+MsxsFMvs64cGWteyzwe5i6sXhc2sbK+/AMIy8hZFUEOOrWlYThT6IP5dV/FtdrzYV05vTo1SAKGUXY42BItGEAqhc8EUYFpVxf7aCy6YKua4wfubeIZj+T/sBZs+UN5ED2XmzZUTgeHM+JtPLWnl9Gn8zIFvDPrwXDR3DJLKGZBhfsYXteDowrtej5oB97xOZC+LMeVPs1wC+iRa9ACVG5hYdPbmZXVNrZDfV/Gzia9/IN0wkLn8/Aus+2fu1GwtIsfjaXXW9JYaa/aIOvf25nn/a+7jKbSCO0Argu+2lpo4VS5+MjJnqhx6ocf6gEGcg44Y5ESq2qo3sT1CQ6CJYAiCb29mSdL+UKm65rN1eJUWqWV+HZVzQgBlnNEL1EDar3mBNl6t6aZCFTwXIZYyPTebcdhJz6k3SrAKF2IgSCQVjfkod9WrLcBoKReoRoAavxgKJpkUrouJGdknXDscRylCB5J/lDx9W763fBsiDopHsrF+kAHa11gbZitgH9CoqeZOsmRpRNFgoq1y1GYBjwqypuziTQG1JbcU3uFLXaICBKUrJPMcJh8NCsw8gtkGL3ImOponxX5Cflfcu9lG5DTX4WJsQlF3ztmWAb87cO1tG3qaqOn+rEny8KJCeh0FCvoNP4+6QqozIpbc0Hrh+uACdkrKPyrhvui1lcvALxvxCCTeIW2KcUvXoJI9ysu+mKVwq+Sk15gpqrctWfTQRZkTiI7kpejluEbCuxzX3wUJ77nPYl/R3FYFEX4reP4i68ZDli9pJV1WPySkl3OWs4+SmJXEq4CBMBU/Hr6wFus9mrRIca+Ilx878I+yCbJ9RAy7se9QTYTkcRsg/d3AYVFSOkc53ZNgd/QF2bqoFu6+TdHO/NwIxm0qhBy6LVbdBIjAcQi95OhiL3M6SpYQhWl1zfm8DCIkdVFkRxbMlZ2qV7zo62IPENmWIeNR0O7ceFAWOZubdCD6H8bdo+Bxnr/n2at5bCyHPrdPBTDJPW+DZzSvBrLFnk5b/He/iy1iFHWOSotMMt5r12EwqfpRn++I3rGMleEUxrDF2TPX9pfEHCZDE95u6I60oBQXc6NlzIAsbgDWAPFrCMj74YqAFTDX7dzVDY9VryBqXbfPWlw9FImOTD9ZzBOQ1YgnQs0Yv0iCYMPxTY/to7BAZmq2CLc0BjVncwO7OoyOlWfqdINLgtfxM70ePM6aAp+1DKrsrCUXlqVLgsciOPhH8krH0qHkynCZScFJGA+tisGX9IeM9m3MAmZzHYQmji/15H7ydFIGFn7mGV4n6zxwj7NPxygXk496j2DHz9IrAl7m+Pta5xQHFgYEP5syCy+v2fBt0rpx4CoVNqWLcuK1jQgvT1ZfzSibAGIimLrNrCKQ99UIp8gyat25syRKUX0kuN/GvUdevxHWd60fEe2yJo2v2dqtu44k3AshyNNaKJfNq57otTFTw9M6cu5PaTE5FzYbp0bLyYFBZGY0rcM3dfrsbwx5yPpDAQO/+3f3vDim18Qs/Jj923307FrG8oXFspzF65shSwj+zTPinGDUhPBdtEkplvwbyMO+iKIJGlKxOonrC4xQRMhbT4kyAbULyv8F7aOHf2VFZol9xT7vgC6/loEA7cSg6GYRCj+0TDjQSf08OVIPyhHaVbf3yTryK4wo4lRGABdr58rfYu43l9N7Rpuoq+yZGoEX5xlCh6S9MNYCre9/nTtSHhvxG47QNvT7PElvLNjADWh6aIaaWPK82jitW4yRtJE3FUEEIn33Suhez9M8ybDKcF5N3Mx/rkmX8kmyzIsI9T6FodYhyLTgLywS0dITGxCmGZQP2P+WTpRAo8j5VxF/voVc5Ry/N5iS2qcmhBIOhYG3BTToD+8w2HuZlpeAVQbJo9ua/ZcisAWPg7eVXvOBwKJSKOsrOCYSP6BIT2SbPuP5eDfgMG95mKlY2LqY84b649Xgzib8pg0r7xxAHZp8Kon7TN7nGbX7KeXhSypxYc7K+LcCODBAZ2qHsAVLKoT+ejH3ATcF8cfoHnJ6FHCptxFeeW0DWXo92vtu6IFbGg5wf80eC/ZDu2FjX80El/6doQ/vbLbA7rtYBE3jNVHrokyErZT+6oGcH6l1e3Myo/j8aZi3+Dqd4DJmmPUCxpTlqySK3gyzpqTnZ4lvBb24sP0z+LOlF+lM2856yaAwJJvKX6GqCVcX6wu+0VhAaeRCjnE0iJ+pKntOXMbMqaA1n6wPN4aPnJD2pe+d4+5QdQxGrJ26B8ychvqeZdcbYnOg+KSJulQi+aGIUWPdG5DddyYzyQ73hUBUnAKkR/muZbW6g1RmWMzXm7CHyy58jNWnvtYR6Z6dSZB40w3GLCtmbycjTjaxAUMRYddm+QSNtnWE511PZXwOEOdWrjKymeEc9R/8OZLfPVq89+yPLmpJeQPdpLjCkDQD8yE0fukpnpSaZR8MoRpymEwvMzxGVVP9jPPy+DIyuJueaKMaRUOa8DTAIgdegC++fICSxqolvOP6be4Ne0hojbNnxXHL45HQhlL50e4iIjfUdzbpcKGhBkdiv/KSNzYjVx3rHGzjt6EZ76HIATIf953VIKHkaR/i6YIVYBNdXTl+DgJ/TcVo7p0eYfhjkgV4Tktpx5t1V0wwktE3kTjhCpwLQ/EcQRJHgByQH9duo9PV/cXhGq4221SXW/fplWBpAPpQrge4EzpkZfDkv1Y7gx2bU/Rf1Ju1HKXMpsd6aSmk3516C6PNqIjVUHILV6JUJOYxG/kTN/fom0+YG9MVbv69rrEQ8v428hdrIAfogngHFrKQJIlyT58OoqKsVbdJC+JB08WpGSE4JjLZ5O7VpOHkucW/uP+23U7T+rQZTrOv1ajbJle9I1LvMFmMaHPF8iP2fDqE1PExGM5WFPC40R7GdFxe04aFjryXMHYL9Ozp1gxZz+wou/+OAI4VvouWbsLrqX+QAOPBXo4aWShuQOUk8SEdwzcQGLrRqp1MJFgkIbZsxyZDwFp2GlVnZ90zUf8u5DzOtPhmhZJAw30SnnLoA3BmG3MWi2/nNIAbjrJVinQh8zxzUh4/KWe8WWPiu+gQ3i5V6U3zLMvScyV1ieuIzguOfexuqmiZjY8KtVfCpGHRhnogv7LF6hR1paSkc+n4A2ByIwGsYndYsIpOQj/CAytQsG4JIWOukf9V2W1jOV/ZppstvrDISNJvWs4E7FgWMGyohz96sIhmCxiiSGBHuM86oXxAYTW4UuNW8F0riLLbTV2VFIndlPBwL6zYHlku1HPSjhuV6hR+rFNAae5khsbeIkXL6+rg5z5UYciond+zFL7Rl7PRsn9YY7DixxdJYD+nRQX8C08X53vq4diMqx+Az4/8UHLPwOwOUOtdmKYnUPN6qI1GUKTCry67XNsXJTO9y9nepfNmKKBrwTVVd9JA35jnJmMbzZvLujRiDpwzYPe1qYV3bL06eS0hA5YASVfDrZ1vCIjW5uGIk/wS0RJUuhRLl2255aBc61m88nLSv6ZDIybKVgcKTpmfUC1VD0K5765SgfOQjyjPr+8gu2bRjJ2vFzWYSxSWIsZX7nQCrYKpAu9Eu3eZYJimDQedoEKsOKjgIUErvrizEQoU3WPATExpCs/fxy8sApw0cGkkJvXl1eOiLgjg4NNPopvWFcyPByKQIVD+IBus9lg4juqj9W90rCyGlzZAfU0luccU46uYhW0/TLl0ylYMLhezn/ytyjLjcnZQWLMUo01Kvdpj1BNjdCqWKc58LYEZGhC07Uus9pCCKXZ7Z3dY0GW1DIcaXvYbQFZ07ulNq/tmKXBrCzWtTjgTUdtUOMUBnZuxd6RvSkSazZ+hdmQ57rsBxh84mrh891KQF1Go33OLPhopYwq0xPMhQ4tXtQroZGR72LFfM72u1na2l1awOgy4bCGw9zRYjDEBNZ/FZfxCQcJnaXHl4Loo0y96ax+IwNO7+6e+aR2SZgPuKWeNgPXAgRZj1DwOpJklLcjr9vV1ZrXSG/OzlBwYWIb4AGMITXg77gX1QBQQARLag0LouNumLjrX7dZViVyVtu2uUL4NxuqLucXoNRMDYJJJTMAuavDNGiLpXPWSCRCl0vRywSiaSJXoVLL/V2NkxMC9m8Go/y+EVFcrBDM4GMdWnw/t8ydEvb8WTJsInlFDZVScrNPQpJZQnaBYIij+C6kHg3DebuwTXafJRU9HGOjg3w/5jnNB6xadicKanaj9q5itCHwR/Arz8U9TSEh0bWrHeFRaLilfoMSgvyXhmvj4tI/iTugmMuTd2BJhTCQT6cHXyV4azEOKCV58U6SVPy+Sb2Asx/GSN0g7E55XFB/eA3g6kPa+6YQCaxKiN4vQolIOwENhRIoMXcHJdOiqeApcKlwuJTIziB2z4X1Q1w1nVu3tCyijzkM3uIy8uuAA9C6XTJKBj3YZqur8i5TW5f0GWpDUX6L/wBv6+47OkoWB9m1M/Lu1Z7p1knOI1DSve4Lpzcbx3QC6V9UQaeqKGdfX4aBxAxShj7FBQfQUiMooBbjHY4IGBrgG2NRVml3IKN24jhdMFRaPKEGNjfMeWBODAp3/DEORb9S39VTrLfqvnuXgTr+zhGc+NHWhSfg7tO4tk4ugwAceiLhlyG/SoMGcWMtdjC2ODtL1kF/g6I8m+LWtvjfXXqtHUh4ngaDS/RAnhpI2RHrBaXdkRBcSvRg5yScTYfO9rDW5YkvuIuQb4HYPZUdOGAELs27z07kCclOBbYM2IlQrymREgsAC+PGyOOlercK8rgJ185Bd15vVx67IenwNF0uVeEHROvNJcynb2Gt53jJwhP0gh4ioL2fItMfra0q+vnppzbyf7XC3NqtRrjpZDWGPfv9na88myAXrXGBo4V0EqFIGnKma0Q7c67frZbwv4CTXf1rO2fGQknLsYykHOovo+OC3HQ04xD98IxH+0O67RWOYvXd+uehYcqAuLVGvfuyrK7vCPMN5NwVKlZQ7p0GzVEc9y6vBePhKxds4sRpc36OyxHsjpT+fCLxlR/l/HCGDpeKuqDcZfeIiXYgSm/9wqzxeW92C5LeWkWJ4tf4DNQ/WR3eUb1adaICQmM320jPEGEUlqTmegr5JtOr+0gWFARlocpVrvS+sskIEu2repXqanIey/JsqMIru/k4KGAydhXUv8l4RmyutZSoQQnASfvTy3AYtyGMlk3q0pM93svG6nGfAoE6oNoiW59eGzhtaE3oH4iwUdH1n058UAcKXhT7iEBm5gFgruUwkskHxVQV0RoJslz/pKMG9h+YlZYsqeayuUt2KOUym4Rlw42xhTsUNu+I01YnLicD1QbaL1uo5ylpr6IAWfMUELsf5fvS0vqRhKJA+bSepwSsVhGUpCgDHQv060Uo5oVYRX8LcFG6y4e6tqhUCy3K3+hb8zQCuPOiJYQw0Jjl9AuHOuuS9wKJ4zgERbc0KHt68aMSJoQrIUa4mccYmex74Z9TbuwU0Dzewz45IauZuqSW6uXBCrc1+OLncfcZZpjmzYa2OTv1jCTnCow6zOlCinncFP71ctPMh2h3lOTNe9UlgnGY9ggB5tUBamL7JIpEdB4O1CoHWoEnp2APilB+VT94KyMVIP+2nGPQPji06rK5NJsIdJbcBGw98Hqc/upxVKwoSneJWGuB+Dl8myFfsxyfIAxpFa0iIN28UVytScbq8p6iqd93EjO8g/jZhEEUQc6Tmtwh4bbmXMqEGxzrCq91yWzPAjoLoMK3VfsLMBom8AKyy0KyimVkC4/DTgkkklBiyQ4Jok+oE9dqh1OhuDBf+V/qdEvjW1MKMKKEaEUFVOkIheWB1bPLxgO+i43/rqSQES84hzi/SQNaXoI43IrMnY9mB0GH3R2omJOXHm8rrqBk/V0LcR+BePCpKg/3gaJWo/yPK9rn2RuZLopAfEAXRvFb6SgMke7lEHI6UkcDIfsXzIOo1zxc1ntA3ngibpWsIxH8qRxI3bvHLj3ID4n5jsavDAv8o3Yb9iJRT8pHf2WMz6yES2/enKj7ZTk6tG/OV+fip0L4Nr1yQUCfJ1EUtF8Tpb5nuFrj4kn7vYk9DxHy/r2UO2FeSYWmJKTPUvTYV75V/cxukub8PSECRls+RAJZK89Nyj+d5sc3VdY854+qyyLXMe160UAWONerhxJqMMN5WOk4CzYGaC9IPCkKUBpk9U/60NmCcPfiUCji065gSjvAdCAtWU0E5rwZ4IYGwIef7hBTLzHYUEzW1Onau/jXwY57TnZbAnMEEvE/BzZQjvjNQbHM7yYNh6+HLKbwjQU7IdtwQ9zgiGUKcCdQFG5d5QpOS8EUcut4sozeS7odKoj0f2aIAj4tcQtKOMowBFKvMRnoyJ2vOzLrL2rYNyFnaPKm0jGAZscSite2nvSV8sbw4zpoRYS9OLL/lTMHQVw1K5SWxZK2CsaU+rkxVH+/KXihrQRpYZxPscKuIfBpzKLVTTeiuExtwDGLky7IJbeSBio89cuZHyi4PVlLemO9l+1i4UZ1yA46aRtZGthUnTBGxfffXvHFCKP+3wy2u6l4bCJuK/ks3n9v8mT/V/NeeWqzi9X7+jiRKkpm9kGmfKxDO+ax516YkZG2/UONCvhSkndroK6LcFLA577HA9firW9IM7kpXc+INex6czGDqrwGW2Zqb1bui+1Uana+hUEiPIwQI26NQlGz4nHazP5SRgHIx30KAoI5tjiX+3EFTclIDri0AftxDuzk04l0agJkC6vfn9WItm6hSn7iuubCZWcV5OwJOYPyUvmB8Yc0LXp2T5OhbRG+AJDPcSZESPLUhoB0owlCnX8PEu0jiI1/zt6yUNo6p6PgWqkQaIQItNFjKkS5K2TuHz4BXq5DOfUxQytGmkCvUx0kkZAqbZ409Z76wdTI8lfBaSL/UUJ+7X5bWTDDgIdh5HMifJGKPxg7YcrOekUMqtsVhJUykaNMm5gZMn9xAsl7p+PQ8WTn3abXoanguf0mUC7rHeN2q3cOSHONhOgcQnlq2lQMRyVOX4Z2082BxNJVNmjos0D6TJ0pdVfuOmBZ5Xdj2JLEAbEU8uNUBw11tG5nrllJBSHTA4nrKmGp/YV5rkWZewD2zuT85L5lV1XOYECNSl/zrXKM2L4ty7uPJtU/N7Q7hs5Sww0JBbGCIn2V7QO6/oKhBNuLNhIBTVE0dsjar9Q7TPd4bvlUGJSYy/gIMykYodj7oLEBoh4Fn00LcVwTCiKNM7v3Je13ARUR+W9I+J8+sR3UGUWZq0S3pv/pt1fpkrDwmocqzTnpp2QNDZfuV1x/GYVEjuWR46NALvM/rl9eGzsr7GTih32YTWoXAjoF3IXiyawBUxhOJSz27pmn1tIPBnJ4fJD7RdCen95xL2MbIrOICjOjDa/6v08IF4BMdq/HGtDOz6FuhGcl/VsMLY2Ax99MKTipD5koVTcNyQBSXLj08oyzsS1PSt9H0ce2ydXpo9X9s7j8ypOlrenT7LEDgCHFOiwtFXb0HmHrfXFgaY5h/NArZRFOa8tox16SGL1Ejscu+x4mtO90YBbzZOASVA+ClguW3xNEAhobGSWnRhpBJ10SABMAFABYoxzJm8VSYXnizXUyG/6ie9BKwE2YFaUHdoN9UTA8ActRdIOaI8HiIL3g3Nb52YrXTQkSIW4g1/fxbtekq90B7VI1X9SIf9pQHzdoWVVWlN6Qx2U+bs76Lv1W8eDa7gd3EjZVXE+28ARgA6MpdDPBtaSD+6G4t9toerBIvm4CvA1GIdt5+haadApoNbjUoA344tzZ9MbXbJ5qOYb0hZPo7j2JCUcZjJy9bGgJjrIw+VAf7N8CJV6JAEUuqOQQCz/FC+4pUbcdtYgTgGKcJ5sFYEp7myiTc2A+0/ibuch2sYoHKEUK8+xK93Sa+eLGpnv3ytdFbqeZe2dYKXovi5h41hUMFMeUg1MIDe3klP1bJ7dCQaXuabs2KYGgxyN8QXXXZvy26Tf8YRfinq9OLzfkAL0X1Wjphi7Xc6SueuyTBI7QMEaRzuVtA2hdRJ9Oed/EWQKfqx+71lMJC5AhtVMH1QMuyOUvp6KalyGYlzObGlPy4XDkcTPS7C0tXZPipVzIW+9mNgLEZrTrOw/34GEM1ilUd/HT90+7MEz5y5Wp4vHt4YTKLleBtNSqMmibXka4AmXuzXuK+UcALiJ7I+rE4g4TOrKfABxQcIkdgXFQ86Rqa6WtaNA3Gl3Tys3O52C3hXiaRf58gg9xkoRUH+OWWhNZKZ1VCbacKamD5/4YOyVmsG/R1xzRzTzDMSx+u3DTl552q+zWzeg+zELyM6Y5fAvCiyEuA985jC5ZzGQ2zGDwdV7OPjMvysBYyawVANfZuIWM4YzubM2a4n0BGLoCBvO/8wIF40AfFBIcwynH8hGaKIEpuFZe6JaMgWkJGcK9Pg+6YZF9uRF6lvBid35ndJDCjzsGcoBgwnqViq0yQhUTImR/SX5MLwEHVpRQUaYTnrirWZwly3bYV5DeXmrPZWD6RU7PlkHeFhcsJQQKL/2XN8ikSOlwTGgKAA3AfHkHB9af1S/r4JTOIiCjTbMtmh3SVL6Q5rHnD6mev1NIWEGwfFtD+OFgaG/GEBFp9Lvpvrlt3+ICNZ7h8emBs9mE3XuJ0tG1RrnPfDoVc74b0A90KsfFyqi1g79OBUm/u8ayuKmVLi/2vIVmeaXJIxtHdiZ70tNO7fOb+siw/qdFocPqp9yKwPfD6jtUaA7WV87njJOPNOgjj2tBPPnWdg6eUytGa0pNT+LH7EojpMIQhijgSFn1Q9NsXxg5kQ7LVj4iJYQRMLQeqitDxRG1PAvcBI2wSwW6zD89FZO/71aR5JIoA7U91FNhKFwoCioaf2LJx4YQntjrLkHcqBM1fLda/PsySGLXlri5OqZWwsBNQEPQY9PxbbTgQVztxBY79pXfjPQnHvZPzTS6/cKCOs2VypzieItk2NyRJaJfwZPjJJOBRknB9VDvqSZOk/aGvteRUNpVFBmxCiSxtKAIQgybcsFH17vqw77Tn56Q4XdfgRmbCNiU+eUq5UVm7dejX8nGzGbuXRtMHsnq+euLdJwao9OmAODtCoiAErAQ99vqo+1B7qjU4M61Sj35NQAISM43As+ktoKsBiZg9s8YzRx4w6RM5yjqlkUozDdm79mEAEf0McuQ5+txB4twd1sp1nPsp1tudrPgoYkAxjddhOGP69KPOFZXSGJW9j1vMCFnyV08B0qUq1JmIaGPJ8KCF4235s2jZOceKGU0VAgwCHDEjf8lpQ+5oIkXMUxt1vI+obwZvLwclrVuKDk0e1vMHW/AQhH6k8cDJZzUr4E4EFUi/lSkT5eqls2xNA3jsAjiOKvt/yI+B6IKke4qVrRw7CUXpaR+6s+VUV21OfquqgsiZ/p6Xdy4cetGFWs+mM6fmragU7mYs8zVOyAIqQLojDTX3cvTkom529Ul4yrDSDKEWktxVpSp8tsI7yglLf0TRakkTMVDOn+CnGaGb2MKzMoC0Qu4Och+201dgJkXPYLgrQrqXiEUUb7UHlKaarz6pCittl79rtTHS3nzEeEt2HUVvpyNkCYF+bkfQOw3RvKe/JirUocW2rg4DYiMf5DIoKswYcXogXc2eO/VrtjdOEC/7YWl/3G0wLbuyISjzUWOod3N1OajB+D1cOsNptqqEOARUQ9dx5Ka+fVWOkL6rJopWYgb6mKK6ck2chlcrDMDI32iDioh8gyOJaYRwiHjoB+vuuo7ogG9QCpO8qrNRUgqumA+DmHrUJcyV0cOpang2NHxfUxqN5oqbIWuPZD2IH0hybL2EV/qr1swr3ZG2Gsn10hJ95MCNjRoUUXd3WXpN6wT3ElT9vkVliUrN8jsoGo/Kyh1k94bFhvBZbpMG3M9UC+gkAPQToZISvgw929hMfWw/DO5ZH6NRREWkI35sToFprZZ+rK/AI5S30FS5d8DXMczzrMs0YWEJ2evp3/Ov9hzi8dr3vrmKUwQwQEUoGE9277GCBp5KlhGTO1hgOPd+ou+hkSaFE9M0EBSuqIbMz2iwjSuAILc1fobkscWWlSEhCH2PMXpSU/YkuOS4rOVudoqEl1xhxGI0jtauygOIc1HFKOsGM1fefxTTqlKd8wcCOWswk2KpnJwV7gZdLBE5oGcGpqjmGSTcq22LX3lrAqO2/lCkRtNAEiP0EhGpWETbB4oGmw2UM2x0va4R+FAlE0O3Qw557RqhrcjwT2PWghwxaJC9GQywA+p7Pb+wUPfrlD8YvxxnrUzQ1XhbhHCWNmOVWnBtMEIG/YQ/eg/wO+0d6o4T3e5fgvUmN1w6/usvuTEti1CFxtOboNcnL8rhhErUJrii0QEzMnYlvM8zfSIIzvkUhqDc3O0UWcnZBtCl2TXcEskpyLRxF0koEGac1GG6AQVLGY0xyl2tgbdb7bBbAddWV5Hw++Ja51Fu5lzwAO19cq8HqJT+zYWnfIq70+Kpg42cBBPzghAcfDh6ycwjJm+TyIzhhPZ/eP9X3ZRxdDBU+MAqrwhV7QeNipjMTa+yFERXcnkyjd39swriWF5VOf8hnfbaUINmYR9qXuqqhGimsh1km6WTC03pTiSPwdVFCTr9EEG5hiUemKPo0930BUeMwcm7Qx6rf9kYoZT5UXL/RnBFdf1BE9355K51lc2LWxkLHkU6yZEdwlzEBfsWPhhbX3M+9trO08EpIwjloGhfedpi1My7TOQxYE/JpD+Pz1PsoZ/RW1EgI+boccGEngMeh/rBeMI9k920AaH+tv1ujsyOx8lpIDsOFCIK4UlxS1dsfbepzqIdSDTg+0K5vnSfv+uvoOo5UAd0B2nzWWAvS71naiK3On2ywkXPsjwCxAhatE4QwSUb9CTHxSve/Wb9zKzHXmSrHpQahdTgPKLQtS59yD9PuWWjKcptMTm7ZeaTygrCb716St8eGobA/0qwHaProXQQuTigkE3DKXttKQWKHO2YKLDwsyKZ/nzN4gu8jdA7kE+l9FfEfqa3O67xm96EhyJwYv7jnWuaBAxyoxscPqczLRf7giB/21JxT+X34YeOczWGX/fDG27Wd+SnffXM1HZgdcn/Aoa6PbQzMCCZHCb6Zd+jf2/xCjRSuh69n3PFWySdv8TRV4U9DoXJxirMrrXiW9AssTgn44DbyWZnqIiIAmqMkx7Va/wySx/g39ujUUH/8m3slMWgEqw2WMW0VmM+AXNlyZwCUi6vpCFtHfl4bUKXuILnUtEJDH3gniKTooDd3YOAnA7dXSZlLszRePs+gfvTwx4ee8C29+LFCR1WlLFczXkjSsQXyePplss077wbwGefp1XJzXJWrirFzmZ/S3iZWwWDyIYn5PCj3H6U9RrAHjyeE1uzPezwg1/xVORvvvNqDb7UbVUL16Vu8YPned6E1ys94s6yWZP2TlUIV6DTe05je6+UAaljGUahDpIdQEuJuyduwNuA6Enr5EstGr6g/qf31gAxxY9nlNg3B7jbu6TWTMNHfIcaIng35VVooHUb5asf2FvSHe+4Q01XrxIH77lCoh8EtBqQauw13luKr+cPcQH//EB+1XxOHVE+mfI7DGBUOth6HURD32f3am/H6Q/x1ogmPx1KCY413qqsi8gJA6TH0RFksDEopAPEWV4XyHF5E1b2ReM/qIY3EI/7bgkFkxuJ6GxR1SVLAONF93xcX1hzIgkPpsTlw8zLkE7OAC7/aDEzBK8N3VXMek4lPP/RLlzOGl2XcnJhd3y4QXo9/rUrZ5x9hnlP1rN8KkUohk5faowIXxb44yUkwEt6IR+nsT8k1wcOW2ThEvcMw263cx+wsMRGP5UgecuEetCVDkeg2BY8c82hBnNPgD5L34qtt6n8XBeG+oR+J1hCvzk4mO2in9KlmMRdKiCNs9SF/79QOaTGibLu7Rkr4OITjVwHn7VBp+7/ZeBb8aDJCUbioBn0pf41cdQHWtQFlxaste8s03LSUCtjc/0/aW2sA4fjtuuThBQKSwDga3x6yyTYuxzPRxqWKd/pMHAGWKlp0nclr0SqHGPnC1gE2DBw8eVwWztW7bBndPAPsz9Ew7LKBtDexX2ac0hpHO2S85o8ZoG3FWvyHzJTHBmmdckrqORBLkvw7rW8ty2blanilInDxaMqNqc/LkjXBxy93T7/9c4sKrmnvTgHJdngcPC85NZU61dCvrzOIVtG61mLxaJmw6CVVau969Acixst3OLMBpn4yNWnH2o0Jyzyc89cwsBcynYtLb3xZFr4p7HqTqqrTWZ2tlqH/tGyttae9TesutvvK4xSja/qDoijDXFWpUIHZuWcpb7LZpa6mEUus3+PmVeO6cDJOOBkgLNKbIUN8wlYt3ByYktaAcCj4kilWDd/tzHm8DOddC+/RD4JtaZNDQqJqsy/HHoFUEJifVcrXCjNMCBP5Pj9czWAJ95270BCHmH+HNlthAhUrA81BjIAhSMNqBJAMrHx/aNjp5PVL1Miq3QNc7GhVfFUhEJ9qqsujiriDRsbt5ZedpHpRDrz/NT/ek5tWyN/vmrJoBJ1mWbXLVzC6/p/8+QOwlwQfx4kmUHh4NM8f8rJiHNz6KOaySZpkubMJ41OQo4e28FE7NIlkFlmuAnQUG5+DmhlaSCJCt5oRKTCn/OfpiWF3gVYd7yuwWPh1mrkzjwOkWH2xQgePqGLgDxf7yDZj7ifeqhPtSS2XyFuQ+/aYXSkEdNq7L64vDgAceeXFCqWb7tc1r6eDJWbIEXq+n/V2k3DKFkJ5UwQeu2N9hY+rhJj6rhGXMQvQUDCbz65ifpRl/O1VJjGnZAo2ZX8ey++HUjYPHJuR96HTfh5XasSNcmaM13EuWVVWfj7tUXDKWElChwP709M1qEi796CKB0TEpK+EZvRLdKmzHzlVpGt36STvAArODEN5Qquyi/Iq/u/9xqHfmxD53jTALIor43S4PqO7YTHTDnofzIqAfJxi0Mh+TapQ9UWFKJJmlVQb3+7k/QIqRpBFbbMO6YPVTDEmonuLexjABlB5TCwWjD5q8cXqJPg3usgO4pMFXfGl5ti2CBkMCSLU7vvuuwLzLlu09/yOs8w2fSA6sydbnT8pe3GUb3iyLTy993EeOH0m0hF0/Nm5ILZ63MIBlklH7OlU6+dfYG/HbsOOiGn0INF90Wj5ZqchSsH+1HSR2isxXYDhZkFTDR0PgSjWkLPigNN1GXN8UbEo5MxfEeA1w7yGJNi+xJTK4skjs3+IiRvLQCARdKpdptcX1K6Va9oFhTz8XWbc5wQa2Zk7MJ9JsnEc29Y/pRTtfJTRd/Tto5dd9LJIK00DcEVyHITKRp/FJRSQUP19klC2JxwbycIRT0l6xz2eR4S2Aj8IKpKkWq1vMyHZZtIroCbkj22gaJ4M1+HxQ1bOxHWRcJsxbqoXvFWmQa9nhS/tvVLXo9DNFczPE2eRhjNqhKglxo0DErfFZg2hlnVRBBdIs8pb8JfSFyiV1/8CPgsAqws9WM/+uAT8+LpD3kdHLkv6TQHrNRNsFK9xzaCVXrpbXEl/HbBjJ6h3wfach/C93IaIXVDerrV6WmnRGUMKLAI633nLI+sphqg+vtbJ5d60Kg30tW6R568TqOjyaeTjjAV2EFYz8LuqHvy33ikcN6j1VFV+mwxu14n9QWpXePyfTI29D7zJuAawYHFsFsG0HWV36mpMOV0fkmGTEytpRWg+7bz0uVtW2d5jsj7U6aTEHdgZAE33ILNooLZ9YFoOOeatJLKpAQ3yEnLXpB8pxzfgWEAMmHrz29NxTL7S9iT+h+84zb+6wfFWFoveQjhi8kmkJAbtoeLOhFRMSZl5cmnWPwprjg3RS2GMjMaXOwvxNBsy0lXGWYUB+PoCyhSAIDx0K7hGeJ64WNGNVHBgFUocZbJkp0FZw3Sa9WSJDJhnVzWaHZl/kf1+GwoUWpPEqR9F8NvqWNK3Cunm1cujhmWxZeHMY5EdY4V5vdp86d8m0TUe5os21gNeKA58Ix6YkNWAaUuT1V5pnJlerKSZL3g8hCdMQMjYBl6ckaSwGG1Sejb6iXtJIGRv5iZt2VSHUUnpHkdCWQ2z7la7nNefqDLFPW9SIEypX9ef3XoPYcmC41b+CqOpjmIZZo73IsuRw72DSFZQprB/vI7WKLsI9uI+79IKJeUC5AEFf6h+0fHfygaIU5/2+TFvoX3b3DNv9FVRhi2Z0C1EvRTayAuL7oOvPEbFbNS8N/W+2xJM2Dr6ILzSuEnCRkEB+Wg9sO9Ih5/8BDDtBErcj3Qu7lHF8RmoKB+ST2i41PdScPGq/ItA9dEWWDevsgsmh9IxtCBK4lhGr4Erm8tQ/tkr2FUG9RBTyNYfzAUd4KsqLAvv/l05INYsbkHNY74R7kDts2+dc6aJYAm6+rKJaKQ+Z3T0HTEIGm1wDjWT7bOL3TGO9tYem2yqvvRk1Gj21IJav6R1wUw93EYd0TA2VoUYeeSeFRytd5K5eQT+E5UIYuW6PBDWtS5zlCQXLtQfyh9CPb58CCz35AsjxvuzUa3scHX8F/vwrPzwHpr7LR4818Rh2xjQU5dVhX6OY8MAF/e+f3ifnO0PQU7jkgA+iJMQrJH5bKTyv0ZyABj+dctOy2i/E26mxCawlWtJ1hEtj5fGeI//JLAqkQSdOWt9J10okLk+n9A483Ems0ksJikM6lW7KXV9aWV+7EG/DsI/WCux7bOYHGqkFLCQI2rI5/JgS68OaRGD/0KmODd+d/KaVaC7Kyifl1qJ2noY7QAWZIDTtGhjjVJlg9zruhCsNYLp0Fvmoma8pkN2oIux3FIuW0TUFkx84hPBXJjbJMq6G7aAKVYCCZ9cThez8WVuYzkcaBP7vkC31uIlJZRck1nWb6kuC3RXA7pitKjtT0JcqejYnVu0BNzQxW0PNQY6fjvG/5dE12GQ6TQeAj16fBnrbB4o/1CKdRlKQmmeGzRTLxnxPr3b9XVH6Vhksh6Ohs7aHyHpI31ENK3zC1fQgo1GjLMZ+HBkZpwCPgH6U01wl04UFXs10qxsGi7jj/WN0ZVUlmvV2gp9etYjOttO0hvp3A3Mj7EzcGVeWc4NnUPK6Ecb7GkDrVQf3IKNXX/C7ibRD63hNRr3h8B5ShRnNpt2xM+yjypCWi7ikDyPWXPWLIs6DdfPlCD7f5xHxOz/gD5ETBXFCXAGIFnXxhW9h6QngHswhpsY3wGwnd7LmDx+xikaA+DnW+C14DZ76AAnd5fpziUiqF7YnkNNUmhjHO3q484vNoXtoIlLOa5iGhkvsc6KGappZjlc/zIIfOGm9dZepY681iJkZFjlCqNyU1JdBpEfXOAWl5ihUgH0DuUiMXGRRKILVgn/+oxDlC/BImS0WlP95DK5pv502+aeJGWyFJijeVQuJBURSq059OiHGKUSyPqfZkK2VgcIXRSq2eGvkW3FhHCdyVjfGNu0YTDeBN/E16ihenvZI8XavaGoHnvVeBtZfNM5sjqoqGcdUeYxVv/rwIw6PaqbPHfykpuO2Owx8bngtFaZNUx5gbkz3Abl7c69zJuREGvMCB5NtI25PgqlUQKaITsxHLyMd1eGWrAdbyhMI6zITeI317sgpFlLSk0tCPZ/VHQdBwsd3pD4ULDIJWck7/zoe8HjQr66csn1qFA3vdn3KU00gBAv/+sUMdcsySo9t/fArUWM9QHI96NK9T7tSck1MhMTJw8641vEtGOBaqUTXch4JoPqImDAnt5b8BIGqnDGZcXPefRu2SJMKBBlL7d+cGvgvPpGNzzXOJwr801/eLx1T4DHqmCExyct7CSs82l1tG6dtdFTflxOZGkJpZnCw75TA8wkBAUHii0/Z8C/oNmyFjpiSWMV+Q+x4hWc9Ef65RtkydQqktApZAWvbB8JA2zsm/IBxVOnQXFNcuGVEJwJyK3zfY2QbRqdsDN0uwhuoU6LxGP4eizQPQEVonaFSZm36q1P8j4/hckhCw5zScAqBlKSjPudYfuO61fok8jU+GxZ6xkZSvpkCeQW43+xkGsRy2yk8FrvWG76j8ZhJ9RwnstllAQjQTNivwkutO0EDNBSy6UMvsDJYC2zxMtVBX1Y9AkR0aGYlvMSrt+bvRv3HQxftvZndLRtJCtlUtGNsfszkpNhRTyvn8DKQIx9q1THD46369MLHZK3CNGmgE+dEjCuQJvDpkdIkkHUjx4a2ZlwhqY2JfMMbsguHuVQzvZdd9AyoWbkGeTkRonyCurwrPrCf/IoyF7VOIeRHMo6vBkfyxi/sKMsqQ9kCCecQprvqIUEp6Idlem86IXbms8H32YvMDeeKBxt1fTvn1zRnSSNjcp/plzev/E4QMipm5fOWlrxkOp0Y0nMG33QvZ3YBvkwx75GQJNEhvHqU3dh/WxO02O0T2aLlpsqgvuQ20U8Ip0VdLCZ7EWtdgPPmtv0zEnxnjbfxyZXB+suOURcH12epiD+prNkl+hXhhZcVC673PkmVMNn++kVQ49P0bbS6B6vyGZSjrYAzsAneXyrv6N2rciuB1Fxc25KJ9jPxU0jTTJoAZoBh9n9I9ubFYfLukOSxciZDXzn1hlnFxpLJEm1VEGvVc5cKCu/z8CIzZ3yKvRxIWtHnFnLyH4diqK7rXqlJLI6GfrruF62uvtJBxKTdZMHkKuXknOhm//cvQpQSI6X1BP4gd6D1c44p3ToUvnCQ1y62/evV2ZHIh0pOg7AqXqY3jmQbBG9pvL9s/BoVGTtGoa0bRxFAvqVQotIAmfDEsZhqJ0LumErkN7Xhdri9nDf+XSSaWSMJb6gnWVp2vFPtryFNmZ/XNlPNkMnfTKi/LOvGbCgQLtRqH1sUSv4xv3T7LVusx67TOUYQrAS5dC4hR5N9GkQdEV7Aev6HtjfZaynWsn9a2aMShZ4DarwgDK9h7Mt0SUdcOE9Cbgadnb6gtAsiJSTNP3PQF2qnhqHoEcULB5wZgHK5RkxB/vsHnn8wPSiJYSUEgbad7JEw08/UHuu3cr/QyCZvOaKyyTqXkMNIjhPQTJ1d23wZ9sdfDhhyw/Xe3eBM9Epvgz01s2nULbOrwGJW27u/h+Hd9e+o7X+o37xQLIVEFuM+VuapzcC8jb1kC2IasOAtdFSjQDAq/LQNPa1dL4zkHHJEOmXVQZpksYaLuCYJmcpZhxOjaERxCpco7HK5oDLcT8dtFujrc40bTSkDuF5e2XftIyrr2ccWkOnEYUPWze6ZgvNuooMEBvWz32RgYU2XU0CgjinD23aFU+4pUjfTbISBOdd2BbyTMBxtGhsdZiUFzCDZ2oDmyzCvhSgkIxqw/Mmn4V+td/AXvTPnvHRjHeMPndITezf8RV5gPeOgghiS/NGce7/QCm+li06JCQfvayF7Osn2d1weGhDemhH5x6EsGNkMpCnridw9jzr40DSkzoKma1u/vgoEX+bfPnqf4/sOvR8sP4E257bfRyd7AI7I1qFLo928m+yq5sJixqq+qv9P/qEDgaiG+lsrwsqJv0xgJcd7WEmYma4PnaUqTRrd4SNKTfYIw8wtfqdr1Zlv+6UDkfKiZ4wRZRxSaB0Tx3lG0Eesvo+qoFEunJ2AX0QQqsu0uoev9uFMuVGdaWAqs2f7HdJkJhibGM08tP6jEddmFnx4xYexl9EBS/oxagUgfa3Xcsjce/0nWYKp0WVTqUWrUACm+IwIaDCDPyNCqHk8CDwQlxhpzzycH1gJFeDNTVoWSGMRpnAPb7f3TLRH+byQr+TcxVxxWBUqyhbv2z7jX1jv+TKRxDwDJf3b+okJWN2ja6WSNW0lz9CnD10p2XgP0miTe0CeQJ88JhVy9YZHHmoibouHBR98tPDvIP/iVy9fpPQtpC9gnZ+diyXw3I81bRcdAk8QtK+gLqm158/yTHjk9ijlnXRtetaKnR/c7xHFnNB9hmOPfDzL1voX2eW9GuThGABsyb5UoWLWc92diXA3COmlq63k4CNPy92KvQ+MOhuKqMUrwxCKfbYrF0fxUbz/Owc3dIW7ZmjyhVfy6hf53rTMHUrnZRwoin15yFr4wPudY7ZkxrNeusR/hEtJ/swKqh0hfyR2adTAWO/DVSJGaMBeXZ1KDlwyWzPZuFB7r+xV195MqVQBo/1tEEIi0jw5+Ia7qxq9+cTn9lSFQmi1zgpG4T2MdjNGSvRoKL80Ln3PYoMOZ2983EkjT5bphQ46j99/+u55/5n9wmlmwoRKlJylaLuQpZCImDdfDjkTsMJExfG2pab43b6/vhsrVeyxjpN5PV6iOXWJko+z500XIt2WruInxF/wsHMWRjwgTBkKErNCXy6qCUKCgva+81xZg6eCUuQWP328lXS+3uk4VSz5UgUP7YMO+7l9mkkdr6y1M2V4sr7ObHaRugH+cOloEDCh4CuLgsjbTXoFgzpuSsOOZBj/r1buViQ6lVDOlibZYKBRXJ2uRpDh2zbjcJRYDuh0G7oWOsUFBDxeiNJtCvkHjmg759e9jMmv7rVfKoVXsh3gfwwmwjdxUTK3Bz4NSdGsMgCJb98VXkBotPPdAbOgnExkSx3ozyDFeS9B3zjoIbw05weN6ibZBQIpek9sQ03MOJY7jEc1E90tqo9Wn1oImPnWVIPY80JGGdS7QHrl5Ons75AlDV+m0nFUMDIFrYPHj+7inw+pe77XXDYoul9zVW1vdTMQyikJzqaiuSrvkx6Phbso++rtQMBZy4cG1M+bBAJTjbRy7PpTbbLSUKaEqsu0zw8PlQe4og8pA35XZuXsfT1/0Cj1g7zNeQ47yQ05F9KyOOcl5/NCKSS1U2ZsN8up6E3x4Df1xzyjXXtfbm57uvPvmk/0hfz/B76J7p/ta5bkc2h54/FMPpChoaJObzeMl/SuLRPW7C/mk08tYp2+2qXl7CSU/Wn9pCssCcLG6HUvbTW8T3HYEsByVIjVON+qy/cORwOPOuXATUHsfUdC2nW3Z+euJEvCui7JdMGM2e7dt11gHAGoBTLAuuBAXDb4YRn+Bxe8F8xXWYzpbuO3RHLd7rpFOajR/6rIdn5izTIKkvHaDFiCFHF2rtZ3zKH/VPWQ1P5Ghay0OSkcKUIfsS03sB8/Z/pHY+ryGlAAyjfAURI0ZlNelG7j4PnPc3PqxvIVA1Rov08CClF9PcnHTOxgNgY+MFKyxYGhygAPVP1zPK5wHZrordDWfOUb5OEPMF6FbTvt7tpCCbwiwAo12ajTKK2CKe0qN2VbgsACWEliclL6hauzi3ktd2hxX8j3ZKdYd2KYdQuKq1ypeGopJ4s+D/g+E7MtdRiSiW1XcyjhBTMkZeUlVax42mV77QeRmH/wQbchge7T4t7G5BNqpuFTWxe+eCEFHe9z7dyqH1bYtcNxYbOnFLCAmr93dLVo5C+r9fZl36Na2O/D7bRJF1ZpNibl+vc1iMihlA7srJ+tgAA10ww1Tv3WhEYCJvDC8kL6J/KrRnULtYQjeA+bNlWxo6EOKyPYMrmZtJ7LAJ66beYGeyf34gkv1SX5D5UuYamsuB2c07AK3kU/lxL0/wPmDAG/8olupLJZiw7GtJ1dt4OR8tczffnsiTcQOUXyuI/tT/WSy+j7gXQgul9ycDXtApm82AVVr6BYpqeiKaIXq5JPus51M2YX1a1xDxAM+rfxWWRlLFWOQq9RE8Olk+judPGetM8cTWYwJ21BqkXbj/KPX9jFSSXA5oSiTtzoDLaYhTobij6GC0t09GRl7nVKFx/TN6yPbss2goSIHbLhcHQ9C6YeVJ9HZkl8p2oEZ3Iy55aMJN1i1mwOnuR1hZG5KNGFUXBGlAGgndaWO3iYpcrm0vDKjYPjBN3jzvY5dNMTsXNspa97Pp+h1KuNBlBbqoNnaSGVUTINBXq8zTKoFeA5eFscM91gJYz7FBvJilir9rGygGnftIpdVH44SiAsQVQlGk7dikhSxsH14/b3SnoHpKjNkS8BnrF+D69nW67rD3uiGgG532EUklxcrsLVeC4jy1dZ4Jz78ncG594CG9lkSujcGXyLtqgcPqdseb/aWMuSNVkUms+nwUgGm93faUAAjoOI1/Tax+pt3JA54OWRfkbA/m++glPgTPW1giLOc5qjTnht4LxqeuUg1zbiaJJMOntfFKElJlktGrcZuZxZzOZD3Gn6mg5qriKgtwib7f97NJNz/p+j2KrKkCpd0YEDHVRntNX8r3A2W1+Kezo+WTwH/G+yhqCiCdjjqKjChLYz7fM9K8pv/lyEMqCC5Sv2mj/nGb+r65OP5FrZ0tHrdpThQC+W3vCedfTHZNAhmJ4skAeqY6yr3LIUZ6RXQzK5XTIkf3kGo8JGDMvgAQAt84tlVtmWdhSBje5kf3LbgcrQJZzMliTvgg47xojjUNPu+EVNNlgSE2BXZp4Cy9QyE7V75fzzSeBuReusrffvHjJMJZtFsi5eMJp8PUANsT2bzYo+78LkEp+HkMJJJ7zfMrxwkYWHHrDQOmN/lxFAMl4wRFNrlOrT0VyWHXRMcdINjhGkQykbxfLOoY1U4i+afTiKs63usog5vvr6rbIpvYDmgqau5DW0ALc6s/7uElSMWPxLGv5G3JgP7NHNzIpuPD2ERAJx97V6WH9V1wcIG3cyt5A4vkO4NthRLGlr80Zu64oLRo8/vHwPCxosVBP2ZC1kJtQDv0vD1t0PKk+CatNmEZYxNZGYOqiLYCzbN1zfckAAf/l9jzwkk2sCrCkkLgaNiCxaC9dt3k6JBVog5YIBrM1wHOpU4kpI0pwv2/BqdiIykueX3yvK9ngjMxDvJ8MadCU1f7dJrZ/UEbLzA2cgNJTAmNTtORbgpAbClCQvQSoAqwI9/iWzbmpYCKfKWEhYQEoIkycMUcfmU5l7xJoAEKhJz5rv/fiv4QF68ISHEhnaH+Ds5BVoRp36+XKN+J3V+l3sHIxea6rY8cz9vnlQsQDc4uCYknt9Bxklv13E9r148mS72rR6Ip0FfRurUx54ujC26KHFhZ/KaZN8eyDh0i+LJ5wyJWsuK0qJ/3PnA1btlnSW/snHQ7rNUE+Aeq0KLO31ipAHbbNLjxZdzbKG9YtSK2K7sXxLWaxC9seDkjd0l/XVjjGvgzb+ZKxUskd+16e38UYy/oFlDLf5FsgIvio17WG5s/v5YaDVeRtK/N+bWsp1YgK9shgpvEFUqQg165m3i23OYxdPSVfv2jMBGySR3v3aQOS0sM7+En5K7Ic8AzMHqM3GdNYMsT3W8ecQHMz10Pf/9UWXIch7By+oWTRMVWbYQUDWinOQm8UdWD0WC4645g7BEe6U65GB4069dsdZG5/jmRM7Nu8Tg46BrwoUYcTz75YS/jpKuCeBOLYOT8aIZIuju38F3rmcP4vwa9mXUMwhRcXmS+xov2cjGpgiqfgqA3vKMKOrn19fbICSS2Y4qsCuuRdZt+BOqtQcU92siwHpqs6djU6Ame5MGzi95FzfLa3XunfYgF+ev7DKPk18U/Iep8xPxNcNjOXCSpxPsS4zpGU3orK60cp95HQomaL3dyXI8n7fIH+Cc9BFiQxZKbs5r0uoPnFH85fN5NjVJD9KTjirpSXdqKv43EfipQ0sSeUQhm43CZC+D86tUGgn5x/KmD0TRHC313uppywoEoRXPGbaoelGWQYQrsF2eLL5xvwHuonXq7DUbhU/d8U2fdPzV6eKnuT85AmeUUJNeBPKJIjuU9MYqZ79DHmmj2+dqGC2K18+uCBc3tAES+s7jzhyRRmEIueM9D8WgE5jSlJVMSTSQMqdt9+uAeY2x4X0i4RQuahkWCU0LYGXvvRR4Ii/mGkdX9BFZlIakD7ppH0H/ocrE1Za5Z/mxnkHI+p4fEp62LKtX7mWHzi0dsoWZ6mnmYnxDUqwyz78VqeobNyPoUQKQtClImET0c3V7AOG1tmNduh/C0J5q+qInHWw5QtP3lmppm+ff5V46wYQDOGHxFeVj/1tDsvjBySWEU550zqGO3ocY8jeovLx9HkVzRWt6FGXJYc20JDewZ0XI7+4t8zGMGafV3ep4CWPi7WuoNIaYZObr0AjoHzEHTzsnY0Ok6yJoRgXIoqD77gOotT4HU6z1J+XDXwcYIsMYz0zQCueHqEwqE6/UzAzspzKQ9TcdzLIL3eJOzZNFQQ0wAkzTNP8yebHme1FXJ4J8/kokkCaz09Hc7nBnswniOc7uE/knbsGOsEph3Q0JCfpIBIOY3ukmWW3wPQeZSuZca5u5ZJIEJX3zOl7GH4WxPu29dIr7AI4SO6nawnwJ6RyNOI9z954fOzrIbSCUB8+D7OLCR1Q+hDvvpx+Fmgr7wKoclz2m3gXB1ZxE6AN34dE9gEI7I67tNYDdgR8r8ZjyxebYSIT3+Pz1EmO8ax94uqhdYZ7FaR0j25kfA/4YDDsb7ECG7zffd8yDctc6fPMzQojpjrUxkQznnedcxXADynfM92UOnYuEIlGKrbkY6eq2ZlooffIAe7Q3tLKjJ896fLrnNqMSPm/rWn7Ob5BzU0Bd5TPMaSKnZwv7KkovFzdq3EYBAo/gkIKLscuqCgCZurBW26V6sLWEwCfURCe22k1abc73CGd8XwbbbbC55DGBncVfJbY45boW1sGLJi2f2KQLfRg43Ym3Qdp/kRw7/MIrTJYvyGaZD1JSTrHLPKcTGSk4Gdfwb0V9Rx8Q74xhHRV7Dg8aGlebEHOQAj/8vji906uuiaZ3M5PUwSrVqJbi3maHc9KIz4WpmP9rCzJb5Hr2rBmF0ZmXpbz5te9KDUZ6OTfowkcqIWhg9eCpUYRViW03xpL3Fykd8xgYp3N0C1e9qrj1gzJpLc7MwFet682IIcmvjWTSuKqNnHuCIHdvDrPobloPtnu7q9tp29DzDzKM+C0aIlF9gRWu6GVALrhddtT6lAF3zjVl6duPjPsJ/GXYGvzLZ21u9saqW6t631QmkSdnQdG2Qkb8jmreU/HUFUq5EZj6cN8K5TQG9tzG+TDvvSSkQ1+FUX8TCqm6emEQY6VH0UGUvxU9v949vU5Jz4SBQA9peLccBuYVvBd0cw36T0dQj4m39U9tqmEXPgBLTR7le9NLvPrTcBWjP0UVAP87CF7q2wfP2YRjvirj7zs+DCefsv7WEJSwO9Wc7cW1tuFP41VOf3dUtYUy3VPNTXPUmimgUQE+r3+T7FVEYbmsHGnCGEVHdbqM2Q3uIjljt0Fvf2BIwJpGxQ5xrIgf9/LVg8t5u38wjt6MKS8NBrbMd4lUidzmydaIKrkdHvWlGIVQuBehe2yvGPX3ot3Lr1donVSgjZZA+PSBLKUipaznzMg/Y7Qgr0xuYZmX0YeXcg/7alAAq/HdoDRR/LSUtLwLrUWrGzsfoH0pts4vfRO7FJxAtR92Qv5r7VlOgRjXBXwpqQdgetUqpxVrqALvqnljx2YIkujMJu+9xIBXInRYISSHjij2nFz2GshIK7qyg6+qUyGGQWc6MIA138YDl4U06pyFxGhjRObwtA4NMUd8x0R8q2SiVdxBwgfjGlwJnYQhHkpXMqjiLqs5dfX7sZ7XQ9FK7ojx5MPWC+P4e/hw7ePYPSRweMeTVpKa4W4I2KPLFT3ok90+4ZUZaTl6xs8UuUsyLkr/iqy2RJFlDkckb7Mx1jBMH+nqr6Tl3NRj8Dc+D5VD5PTs/JAYoe9g5o7ceawsiBhzAwXlAHH28Ykx5sZuayT4/UoAPye9VVnF7WI7JASDb+p6bUgXNrkZ0bDTKv9x+vDaZpMfn1KD+tkODBZLJuI03sCh8m44aG+MouOX8fVi75QiF6d0PEsDDvT8p14CyrOZXIVyDEm0AwWGkrwHHDyLaxX1XOaLksIXGUDeUtuTwu2JqkQnxlZRsjbe9MXwxKGLPPbshJpE/iZ2vtudhzylSjd7znN7Sl1KAdkx7vCta+TIyzOIKf0oKhA+5cdvCwJnajNoeIP4Atq/FCN1LPay58JPc1Jokn25+yoiwwzRy+KB6L+4PqijNhVRbPxlmz7Bsv5igRto3ZA5zuYJtyd3C6FqcHxfpEK0mu9kFpjF9VwQ77I44neJ400eEwqwcFOArFMsGogpWbqw0aIzIZ+Z2uNchDv0pHWif0++W6Qb0TE1jJGU0xGsFLow4A8SN9/zIp/kZaqdHSb7WjwwWgj6flr+XWs/EtNNsEtfSFW0psU/7w7VZFwD8opCKWHUfeAsWjiuJKyUv4bRUyl0XGzm3/KPyJlkUZO6M1uuHP/TezWkm2OC5UlleRZkmgjV4xfH/TKh7P97jqDRqVEbLXhjinxUOOQcrjI1OMbXR97VZKge0UfHcc3FdhIwhGKLf3WOf0hmh0IV5vdGEFQHtICVVfH2bEq60u2MWUpNLDxjRZUHzfrTDAyqs42U4i3TLBGGTA9/0Rxvao5FlUUJWdTjQaU7+H1EfPgZw4KYUiNeRSp29/L2mBow9PtQd3BEgMNlA1rCgKkb43Pvsf29QkrTrQxJIs206PGHWGt4l61P5qD3T1zkciIt8Y72Z5967RnFH/Jvt9bJOTsIo1eG8yjqJ/ZNGPuz943LaYXRmv/6iKupxRAwcccoPRT+GEaSnzgIgBjPsh0lCYjPpVBOvfj7FZlNF6cw4x9y+66DThBcbj5BYrEy3QRucbDN5jxymBZyVL2TbPZdsYbti9YhzO5rDZveh0lBv4/vn9oC9kd3Qhb1BP5Is67Ps1xBURq04+W2HOw/UCzHlFBvAnsCWjYms1HHFAUwrasgu/5nk1CIJRYvHFOBaCzh2iivsogsFxkNg0BdXcI2gsb6wPZe/4Z7eS6s6XNV0OxLPApDuGdF+fzRHkqifHUNMktgKiLGUsrZe8Xrc8xt8hKQyxPTfeKkpcN0q8t093sWXdZUXeGYM2wCxmQAh3380tRKEtxKfSinYLiP0nhNljCiTJUtqHH5fX8A1x80XeHMqo6J52Q7jC8JPLaopbvUKfkhImre+RmzINYJPOoI1p/8PYoBN+Ftnm4T7hxIyIHT/JjMVhQgxzGgjpeFufmDzCElXCOYoNAzOqq5RyPjhGBTTwTLmcrHmagDpxew61XsiOZdGegTHz9IPyUGZqMNRbjWpGzEgJG1w5xWZLOoHvA70aOXrJcJTjtPNIeGeNeJ6beHF/inm5vcj5V03WiP2oCBRcUjv9gn+58qV/Ngk6olJOqWa9cwvF5gJlxe5kkzPRiflhASUzNMdnM3s3/dE34eL8+ds4hTMveAVs8VkDMw/iZAmtngDHDiHuHHGz/Xy3jfkkaxcei1VJs9TMPoqMCtomQZzRJuJuEH2W3XmxKUI75hvUOQ83HBLy6YraMJ7PlGC8bcKz6EYssOvccfdY8d5HyqcIaferm0jE8yM/69tiyrwrFppCRoPQICid/lfZaQrMhPJNeXl/UfLNOIFBtPj0L0e3qpvhwaRlFSXV5eFzuC4c0VrsT4SSq3B83at3JCi5cj3A1hRmcIR0kWZdmR0gvAseJ7Ab98YlIdT9dfCswO6ClY8cSORVxwkey9qngeD1jl98ycmmEu9l1aHlkCtOnb+YaeoIhY+TxIPRlKBVKQVExJXbDlC+mdAMi9My9PUGI/LmRzHHFkga/LJOlfA8eINyTif4z8y/4+o2gYmLcv0AkHn55WGHQfPM5tpwb7+b3T1YNoWESxlJ8+JDAzZSciIfA2Klj7vp69I6PwJxm81caiv53nH4KxOqH39K71y5t6ciSRT6NgPhzOW8MC+NlLXLFedrFE7sG1mflC4J1QMmjtWgI9Pwx9SD+tT5yQkCOrhKi/BuUl7nqh1z8Ob5tQvXtWUjXVqMstmi3lkbSK1UGVjPzXM8oCm1ufRL/JG6qXGqFhPf4ydJyoCRydXQyXAXAFz7yZVZHOjNxvaH8C8FPR2dsXIFPpWdxFjZfhlxXAUSbR6QdC6vLyx5kPUGZzxPrObv/PklxjPcj158CQE1GZoqmKY0c0Q8bFqVJ/cTwfijHX8GJV4U2iq8cNYrXvVQ4nXqET0wiJfUQc8e6NKXBzdA2aLreuyjiafE9UCvURZE1P0vWSrW4WA24/d7NWxNIzPnTp4h9YqTRSqmAy4EqLVKNxVeLY0d5HczT4T9tFup7gS5EaqkYmQLzVRBqTLTfLBbXz9/9VaFd3tC9FBVvdZXN9NimUoVMp2d6lpRECNfBinHTv3gLb/O3GRlbKv167qwzIXOIJz0kjEqOchHsARbxz0UC9txn98sEIYLCvxD80LjHZ9/xZ5Pg1fldAVQ9WRVNx3Xp4SubSu+xOxukpA7SVd3AgYxGinKTXOlefwyXAvsjSUN8PDqdX4F3lDHh99T6hqFVm0U8DXQspx6xc+qIgeyfqHAios3EF63r72l58Ln6e4jex9ZY3HnEz4csn5oHOKgRBs8IiZGn65t5K7RD56SUWxuSDV0b1XP4FZHmwVEzywBFvAmbRF5QyYXyCm0AaVpES1dsOYawPP52wRHyPYr/J9NLUD4YhxRGCcTjVVtmpsf15j+qaIooS5cojKHhxJGnPpw3Xbun7IOT3mNTipZdoruP0t06PH4nso0DjMnKtqS2yCpp3izY2dVtAXCc6Q2sc7VG+quo0XOJyARNJ6ld6CofIr1wdSMgd42SnWqD2v4CXgScDIXBuznpPCakXLYSpbIc2ZBoMxf4H3h+3MZ6AaJLQBVhGAbSEfb2YzppMt2+XJ2jJb9oTDGKfPqUke6DiY4Zwlry0i2eoYLyX8VbDxnwGXPHs/yPV9S/tTwZQda4fdeL2anA2AX4fEhSmdSTRpabUEPitEGYHrDqa+IZ4KOOhobfIH6Di2GzY4eUEJxbiAYMGSRjvFsMuMT40Gx0Eo4ZePm6UwgUbGgA/Dm4tjf+GG4MMYm3XCxJxt1zu2eH9VlPFAUuF9HxN+MO3dQsJkKowgWWgIFEgIY51N3FcJ48e9TcGNulwfOEPPjKYxbwUJUbbp0SskNpeDdGKJRkmI6cB0tWzmlj88qsihf/5El2MaEpSgQvAZoamlfo1lNosm+y0n7oQGG6AvO1kNCsIdTIWnb8aVCWIq5sBHVyXtToTNjTa7w3VzGZ3miLdsa7+LyednjReuS/A+v2jbM0HAPn0wnV1sPW/OXvoPISQsfDMWClXI1wkh3YOM5bMN1IVED0gZxSJodxiw3o8OBMexH8DFy7h35Vk5ycGYMmGzyHKpWn82W0J72hKNhH2mC6NB31X6YpeqnMEnAuK902ujqOdEppZgylZzBnBFzSelgVuGBJXV0wI1Mtv815I8r6LB+aCkuJIvqLX7zv8ICwZ04kT7vVMIGBMBKvZw/4dJN46aqvrIdkjFRB8W6ntjMlS7goddFNecO2lMIvIYJelslcAebO6d0cx1m9XaOBZ1IyfS1VkAku6HdgbN3LtApMftQgAiUBo9aVUnx8pK6KF7+3TryCFdQGHRINlorYLOuY+549rO73/77zoVkIlINcIZ6gl9L6TdkB4ch6ROigZbx+/5qZjvhMfYff9hIQiRwS0QNwgOBv6H6VnEnHQzPtJ3Eqf42DOi6aadbB9TJ/HnUPb8Fy3ONTUICnFVqL1u9/MC1ciU9cBzGiDYG8WlWejObglrgH+K/OoArp6mFZhZ2Xj3s8a5M9tPPhzT9yY7L2BTYV0GSSE0xNJUZ4ChQ1eToalIav4o2Y+UntKr53UEBp6EqWwJkoiVuAcgpviW17zXB0e54bxV77HLU8WzyJCK+zfd/3FoyAtsNkHS+XrS5PmxS0aXt6idUTESolVfqi/xXoiRbRwukDK+8WsN2gjNtoloNPxmqcdvxiwJ8DZvqUPjNbc1NgYWj6PzRp9yl7Adj5uFcrrbcCzDLDj/GkA0K5UjI9k4s4SCGFkwBV1Bfzu9/788KcBbudjKry23BgAROBwlCVzrrJ2YfkPguvuZxgrbTxmIzcxoTqyulorSUuN8JuKAFudhEMPDrt4G5fy9I///8K9+SnyPjedqTZq9cb6Rj6thztDVu89h9Qw4BMN+hUUNVTZ7ZfQA/XoN9fLej2ZupI2Q1LQ/Rs18gG6wlwSLPWb3I0XSKPmETo3g825Omf+zwl8RgDF/IID6SCd45ASC8zG+baFqMWvThfJkjuhvgRJVip8gpWfypAzV3JMa/ebX2TcOqmytO3NQI9H2YNr9+n37H4X0h4Ciwf6vT4yRYOAWxILYAzp61vKq16Umjj+XlDuilGBpzoEjNiPZ+M0SUJ6MYxWmRNvx1HIKykXpFKjjtgdq0A+4DZsmsjumI6xcYiHdClGnrWCZGWYhsFAnZUpSrRUKWFB1jkiYakZpanXSD3vMOo/g5xX9J9y0ESTxY+zQOzwOd/8XvY/+u5CKp20sIaJV8juQiCl5uImhFmfNLgaOdWXaJoPJRunGA2HI6+qcONAkmx+BjtEVN9VVlHi3Fko9E2jbhqR4+/KfpKFQJDWWvo5AWzPljAWHHHJ2z3QVgxPpL4pZg3V7mpqdkQij54EKJtyVI7lecMT21xQRxoxtA82YYEc75q/ulnrc+Yc6yWeYiTWNav6iXaPLKjV29O2BDnE4QqMf0xb6CgpeTPgkPALUMU2Rb5MZwfXUm/bOv+U3JvQbcmdBpLD5+e22ZbV2vMHoe84LMy30wT3nOIhBjhPXySduQeldFNaj4oHjCr/MfNOGE3fkLGXwD4qGBZ7knI0yZOr6zX1qaaGcOifpgFKeklq3IxIj/phSB81sAfl/eZsxBXcMcFNI8oTbxZ9Lqo4NyxmorezLBo7zw+Fxvbuz9iQb/LkK2V1kDsqyWXWHDCpiQz+iJsnlH5C8rjhz+omQqdERAnMKn+SkrDCEyDhtLkHRGTyfIH/TrELa7Ai61Eo42WBwJ/i9XfEosfT8idA1QuOLcTHKeMIl7BYSGTy9BItGArzfO+WnBW0Mbmd3ZNIS7oL/s7bTh+3iJ+uqhEuYhOlD87c4ieYR71yz9JjTG2Y4GepVgeB5ynfDtDuRZyHeIAm1MeojO5sSsNnx5YNKSulJ9dmKwJl3wxQPN3St5hpcVayTuZM253BdIemj7hDytaKpU3VjKpU381WILJ0hKnUO/zHvLkH6A23zm7xHVGbK8jvyRch9bJtGAmsCSRXKD1+lvOSaQtSC57rJ88cPKbNr3UYd1SR1byyKa/fbI4wiqcQ3tdXV3SmNlO24x8tZM4Um5tNGI/YC8RqrpwE/X4G4xLFMKUpJpsd1ucGkLJarO+MkPToZ+3oljOxc+fWrWSJr/dwxcqynggyhx1LRgCH2M3wvIQ4gh5eWmZQ9bRvQymy0ZQ5upCBI1L4Wx51bpU9mNU+lva8lQDScoB9fNpFgvEn/xpi0shAGdhfK6NTezL3ltmYv1Cd5EbPBC7QBx5rKTSW1R0nPyw1olzmzFIgQd744hZxN9ayPa836CGEoq2JHLUzwZ7ajy+xhZCkITcWp3zfk4ZBTIeqwsOpgCdYvhlUpPSwO/wNHzjveryz8fZ53+yL4uHI6LkSgFcHGZ+DhWUefDZ7HRGqTwUCrNAZsfatLsHbSrlBCCkRgrEkCe7vAZR0yy6P0t5GCSnzwxkElTxubF7aNmjkguHK/DByFiscNWOU/XrYa2GR44C+kZLaWWdFzxtpAShhGnIgbJDME3MUxiYEl97HYml2bxg341aJY57xPgbWQMoKNwwaS5WXse338OSCjl7qA2KxY/qtlfi54zhFS6LnyAQeMlrbH3ZGz7cLr7BIwSmUtE9BQMZzObWHuj/ZnfmwMceHZzS7z6ny3K3mx9C4oVR2RvSeOuGPIrNp47iljhBkUJvdF2JfER6VNorNPbanpxK2S74jChDsOHnyHPEXePSx++AQSU/bgONOWbHBNArx3RH1NF1xWnCGPHitWvREJCesEXsSaFaRs6D7Q38bpA5CO4dYPQuEpTGLGJTVpTnA5HMreqA761LO7yJK9oP02n8d/YSTwlhfAMgGAuqLZpgw7w2t/qFIKBL7AkW8l9SBrH+sQ7q/e+/JeYWkCjUKEpSTMqM1UKnGvM3mEdzk2bSQ2zckf6e0z1//GzH6P3Zu7ManNPZBgDYj/yv8H5X6ixeJ9QY33xJsY2oRaZfhhGqXCY24WxhgDVjIEhp8SJD/rXOXqWuqPu4Ciq+jJtLYl1SbcnQktF8/MUk8qWwBa7Fenu93/mTGdvRyjLwCEInhy7m+dNv/3sVjofoa5Q8RWSgpwXxZlKtCrvqWk0eKSKHGN+2AZ11Zzbj1Rc/2QSxZV/aKXDigymlNYbnzzYWr0Iase+b+MPKljidrlL+UZpeR/MFCs0b9lEXZWyu4Q6ZuWcpZtzpPiJ0Cc3OLS3W2Vms0CBuRpTi7T2PiE4tAJFreA1H4XP6r04qFftyGAly0aLErm8mluFhGakt+6soMzPQBG9g/H4fvM/FnRNWnRdU8z4ZTIhXYljhJz5C65o8dM5RSnAYL1WGNXotVgv2vxVbJrEPaXCTQhH5F8qLj+4xQD4FMZpvD+tRvvgjGR4pxxcwmqlDmniKeTG8sN4uRiiBFHedrS33Xlxa14nADDO+x5m+llrDEYaZ9gkFJ7TgjBkpcVtbtgZMdWT2phL4W5VXKYmU4f8VZgPr00Oq6BNP/bK8mp1VIK+s99LIKjdmjz8OV18h600zxTkeaBtTP1QhZo5PYonGvnoNRNV3TtnVkEPjAcKXBlJV+Wpa2N+A1WUFhX1dwgMtVCSC40AvI4w5794qLsGTZhh/JMKVoxo+Vv5LFHNYSIq81kQ1lzXEcsrt+U27zDgUHaI2oZhjromERi/h1/B2qdPl0xd9d5XrfF6lWZSpm/JAAfRWqtXCnTf1Y8B+ISQ0sLG+vWR9tLghjXXDLUL+OIWzboLtjPbxNtY2L8S4s6tuOFuqzw5gY84viwWPSmBWw2GS7edgCK+MN4zhrQ2dFPY4txnBAmrAo4AGEVTAeXPFH3eQ2tQEvK4u9bFmj3zM9DsD96gfaHJbaBTKa2J1w8PxNqikTpmnuo0CtE4TgNw46VImprUnhQf84k0HuPOfA/Yf8fPIHbBIzs2Yq+f7MFvuZ7cjoR0c19CInuBWMuzHtevaXBpV0wBRRMXAPAWVXOINSt6lkUoiJ4MxNaB+wQaeoOldZlAelo43Cxn2xuTSyvC5HHWoAAiG0hALlNcXvGvhUw4jN+05ZwGqqLj4UngZOwjfm8aaglK3l5yHyQ5V40m4OvAksa0OxQxZD2Zdapxfb1k7/atvcbatu8D37eI5sbmHjU8DzgaUdwmyPKawl8oHRuGIV/jw1vT4oYl82cs3sOVo6D6J0Ijn+VNS27PDGFZfixoZ3aYYu+ktqcrBGM8dJXeFcNGGmypVLA4Veq0JyFsyA0L8tMZz9jWILMgtzebRS7q9L2Tueip+GGhhwWyxrIWBU1sl4rV7I1hYTURZc5ppy2jTQ+ugOy58Xh/hSXaKFhdgBvF1SPYTE7r1zMmu06Y6AZYXdnBXA0EqyzjTPZ0E5TYU3cj5YpkNhK6KjGI/d5jAVXj/YfbyohFwo/9YSPBTdwy2gXAPTpAD3+JhgU7F6yP3S4mNhhS2rTkTuZRUD2JmdNFWyU2R0Dtqkj4nw6w+JGhFMaDZmV1PQoJ5pMSrlryXime2Zz8VpTP39n5XNuZTiT03RlowoySzm8YnFFzNlJHsjFyD/v9dkKsus89RXI1eKaJKcew5FnYYHOBBtkuLVNJk7Cqe/Y57zUCFHsy1BpVsWYsSL7gF1Z6vHGxEyMbeLcTYu4Q3slwi+IlXIomd1DIvxEIeduV00n594ViDLB1O2BHzkwmweYCOq3ezmsJcMTiIlqb9F4MQEgUjjLdF9nWOsTi/rcAdBsRdbuZdOvNjK2ynEDHl1+ssSusbjXnPfF9RkkjETP5C+bMF1Z2DtevQGHArvBsbG3u/e657+gVes3PMCW69a7OS8AmI7KjtAuxqzPtAiIHJeTLJzt9ywdI5F2mA4dzDO++p3vDtJHwK/t7K0RTIekwde9KhM/g1veflSe6uMuoA4GiDT0UWxy9HUjZEE3jlZAr6s+DCJx0rdlms7sBc9Xv5j1soHN6Ckl/Bd5F1ygH33p/T07w5aRTtzv7sS4wJObWz9VG4qDhUcto2QsFobKrCenvbOsc/fpgo8VHCDrtL4NV6X26Mwkc/+VQUWxIH4mllLHi337Kn5IuNba8UJhjG8OoPZ6b4x/xzjj686IyBvlWCWJarXA4Nk7Erc/UDTpTUaUUyvUHYwKvyD0p16GXEompd3e0iw9i7FA5pNTrkJD4nk+n3wdYabwSflVfArLqx1gI8z1AczxqVMQU5ilM220RRB/bljun6iC/y+LkNZ7c9DPmXABFwWPCU4tl8mPhSTNIWyPJJpk7zmYg01/IDAubuPk1qCq9I5+up/WSmt4CX3ZPwlJozvu7Hm030ALAoijkucca0m85QJjeIZKs1B8itCfMwySCQBvRKfoLcLcnOgpeI6i/iHZ11J92NIAimlFqS5zncg4sMK6d+eoxumw3LY0gsdX7k/e4nMy1nFHvAgIsz7XFA731GwsyCxQG/oNwWJZN+dYjEyQjvamJhPhyx62WeNCLHDQ5UkKsx+AtfNPkm2N1uQgqU0xWGoMaqsIXtGi2zdn2rxVpKwqFuPSE8jentRjonB6cgJXoSkV5PcsroaKIZoJSntg6Ab6GxfF8j1Mil5szEelX/vmdgvvlFh060bsGLFjG9xZu2azB9guTAivACYr5GVEHy0vbxp3o/ExP2hG9IuC9ccfzwri6LnjjdT0Vink9XSHH2lnLqEpHMxSNNfJjUXDohr/bazoPZv0sHvVHGeOUZ0VLAMV0pSi0kTPiI8bxpJ/ukcXpwwssbZTeX2Q8YTYOIwAb1Fdb0wDr2CagFt03eWMhXMV+GWvctl/M5IczCr6yb9R3cC1DauvZ2x0N3912A5aQV2QphhFapHKFDAcycRe8epb9+6JKZLrrOt7fLWFos4BtXQEVx9HXBDXscZSdRZXgQZz+OVEQmPoN230YMqmo0rDRbP7R9IchH+laS4foqZ9oT8o9pOa5pK6ewQ+EvHi31Cw4m13788iMzEboGLWzrJtLg48IgFWkq6FggCtVPXTqd7H7t0UVK6oV4RVbAtaroH6qtiPC7mfsXdZfqc0hxYhyf8PU3WRGbyQ+GpxjACxbzuyU9KM6FM/AG79rz7IYbmIisuzTHPh0jphV0ELlggT1fZg6ehjfJZP4afTmkt1t91LHU49Ni4fsZDeYhgkJW/55bcm8Wt44BzkUXKAIV4Ds8XKOwIvWYBk+lCIPG27u6ggoYq09zJGiBXHpzboh5wxPqSktEXVJd9jEwG8m/dB0DL8Sv+1fhsTauPEPL4/EOgOGlgvDSzOvhazGZ/53bAwf2pVD16FOELjW2oR5WtgeS8GbDhnWDmDMmtdGRi8t5uX1+uXDsIFZ9Ez+yXHvfsTEruhejfvTL0y0tMNZQlr/WlVQ8K2O27OtMlBnc7KiaER1ZT8jPqvCZppCzvpGcf5IHeNt3GietrCAFFqsdZQ3R3UXp9NJpDjuLArv719WP7+vHyKl2k3Fb7cjk9GJnVGLTjQ5DyqKfsEmgq+uC9MkWhuoyhqgfSeny7R7mwJoStZf89a2tt7WUebf2syqin/nchHgRW0i/gTe5u1o+4VXuRsHRPHx/09faCLf75ApqnxHdUhwRCHGUCujnDp1djduS8JQIQmDWPyBT6kFHePVlKRk79htlCUpnQT3ZbYsNJu0vwbkTumymoHxpoRnqFKrc7+kZ6Mcfxs9zUOpkSGkaX4sjXkSodxcsepUK4qGqSCzrt9Uq4glkp53RzjbSFSbgWaaKaRNmiSs+UIKQdmHdoOnDlw4lwModQIpA98QNodNce1xAUjTxBycw6OJSGJb9ywl/ELvpHQSBwgZDw0MbhoX2tqiu73WkGYG8eRLPY8FwFtASuQD93fQ2AQ4OBGBjOBhRV7MoZOVjxLm94TeWq2IwdshjOonkc99WHZNbUG0v0L367rgPqMJh8ODD0MSUGsSyyCTyQeEeCfM6QOgIgY8+1769mTfMRFxC8FgyxWHbCzPbCSXLOtX6olY3jV9lSTo5WuDKBStjqQfYLfU6hlZVAfR8E9S/rEKKbsn5el/JELF7iYaZTJN5lzX4fFUSMNpAV6vx9+FYzrtqFha4Vge5VcmuSsqG1d+jliGfWhs3Z49YqIWz8m90Tyszd8U/FvNpj772e2WNxLB0GcTh+8YSOlGALrLUFojtdz/0dqtuAI6ydZV24r509VkhUNZVLXgpJvrs94ejepFEbpzTUeSiHI66JpEJj8A5ULSZTCs0UC1ZLbAZiXQQg1ezabkglxrO6csPG4YKfplCCgHlaXSx8fBk7ZxG22HCFZx93DIS+zmCNx7zg4FtfJDKAb2e9htXIJfxCJgpElWE3qeQafb/nNuuEiNjk6TISerPHwb3AT1TB4RDefzDJBKvjkqXKHHvBlM4kPOLjCa2/tO5yDsXCY7luzfS3gd5zWRxTLW66DxVIZLGv98/rbOOOC0RUDGr/zavysyke90tdw4B052WRa5OZP0XbQFpBK3of503hn71opeRtGeLRRNZD2qTXeSouT1bCaAilwxz87VmuybMm37181CnZ/Dxy0UNEpDAD3mNvyiN2mPCy76vOhqaUxS0RvXpO3afUultCu6qrKdb5AxvzIOIdQyK2dFwbLy8D7wDVkTWLeUS2E901hEzwTg7dxbf6dKgv+26l55ZOshMwpS0HuTIOjXmpnK4GNMcsdyRqMGbkKP0iQqbwOhvx1MTB8gnp6W6R3komvtFB+vqHoSLVWjlfrLxd7B4luhX6CqlzZY/cNceqrlGYgn2s+xQcqXJy7cBEwQ4zhdCr6qzRgmp/WrQaZjh1Dvn1SAdsjk/Qlo9K5zBGZHpWiFjunIM0ZFUifa9hGNW7WekNBthA7PwkwImQqyKFPxqkEUXx8XYxmhLp2ZiXZtJ9U/DGeDtE/nZ+4KO4TIwXcquCLr7YiekIbg+mSwgpQkbzBiphjUBHJNzHTh9xOlsRf1YRLlZLl7BOK6Mk5b0O2UqOO3e0laDsSWdoS6v9xsrWesftMAh7K+UhlsAIDKflWinq+uW/RQ9mxYeFPVr44AF1d0wCDK8WkTVAfxkbLTbutVxk+QQOE8N+waHddgF28N5lRTm13hdRX5/088qbJ7cg21O9a1Q1siZsCgR3e8YGGsvrr2uU5h+1liZSEJLIHWURtl5JN7vbbflbWlvbtPLoLbeoUKH4o1kZJs7eAM/qgbhcanv5ZjDb7VulQP116jy8QiNmhCNtl0s0eGZjF6r64tBa9x0RGmrhRD9V4MAXBmAXG/C02Amrfyo1lnBjfshcUSGE33IwYe3AM7Vmlrr7iTMRdqyY/O6tgi9iHkehUH0WNqyn02nrIqta2b7lCW7Wuc5HL3oJjp7JuxOxNof0p52kjG6nYbaQ3TplEgdD5ABwU/iks7IbrQrFG4EikpSWyMx3qBoGJhFsYGaCxN0acp/sBRQ3Dnc/YMIegFeEb7y+JrjnbKpJe+BDQX2ov2RYVbY2Vf9ZjnRlsy+dvmVmkN57o9zD3NnuqEb+G8HK0mWTdGXvLXmq0NuREqwdPUVUBCfNDfgl7hu8+h1szRC0zxQ5rl6NqlZ3tOW1s+2k82+IPlNEs5xrlov7qDCpDLe79aXvmbtDI81ViZsTLpfrBjhYFTccKZEXZ74afcexmOuQKvGSYhjpOhXXxkuN7P7sG6DfvotDVH4eYjwppooT5QtU+X57G8vA7bbTrehijFY/8yiSewBarfClQPBmnQPZi9SiF87eG1HATFjvawFleEyBxNd1GuJD4e2PAb09r66A8jNzCdPdGPdDj2/kyil1vrLAPNgQ5HaQYmDXp/jyEhfwlvRr7isjHVca6gBADeMlGGiMPWvgUC9/z+7XkKQSK4AIp3WZZGGQljtkA2f759IR3hS00sIkSXR46wkLIVM7sabOJTsPJa0c/4Zudv3Jwq8wN8o+oHpLpdx2WOs+IwJpV3pZkyTWIRO2yyCVTiH1xNFiZaEE+WJSOXtRLglCWw65c+nqU9kWzYFj7+X2a8KsDhWv2EYQFgPLdObLl8R85c00nJK3y3+S+hwGzO66+9TQPzXXXLWFj3vtL2YhCPYr0vKYyzt3XOtNige8E2eT4uCGEoXRi3pFMYmYcauphFGsfofWv4/rw/vLp4wzBby3tHJf711kHgYmIZ5kcpUUEXKntTCNiCOHZP6QjawUwpcBXxbIW5MO9dB55+FBzSOPi9SeJ0hgzisOz4oRfViqxSfC1Xp9J54CtbN+wdxaRNDFtG1nt9j81GARwLWD/aSobbV7H2eby5sEb08QHHLAVAfKplm4/fvbZ7SBeKqILYltVe293FUmRDM1BGiKvVi1IWRi8m22lFEb09SC2GD0MtdyyIaSrnN7qeqwYWk8jEfmp64L7K9SxYBmoI0CTzfxtGXEMIYjmaod8lnAzRB+7RSpzV/BG7BBKJg1Y75+UYFnmPEulsrU6/DPFCqYAJv5wRCXDKpdlD8M1OoSN8fiV7Mlg4WDa2Tpl1cW2arWLoYAvmQaY4OD7wiSuqEJ04X3mMKftXYD9uC+cI1Fonu4Kp7DKI8+g9cuVcl4vm0i6IhTqFzqtdBvH96udmX6AV0l0tA5fPq0InY//4L8tXFY9COpWfgEwubJPbSCQofQQcJvTuS3YTa2LCjiabHnai8dwlc6QEmOEvdyYftOwzrgZlICo1g/LwldAo+5/pjMrxTgMe8sy29DFHpaIiipI4jICbnHakH2nObpQq0xvF3osEMMAqBtxFrjygTf0xuhqLP6G/5ut/x//Zplr2ohF9Fe8H6Gc4GAvyKuQMr09yJEzdnHa1F60MJqyAtbzxdTRX5FlQw0sGPNY2DCZG0ofh5a4UrxUePrNKqMFgjNpEnALrfUDnYYHHKksMSzkzpbHlhB3nLMBSNidDPMxdUPAmvQte1YX0os49JXreSn3TjbpXPn3aax9SUaeNfXZ+O+8D83nRFexuWTpMtgubFyDkTf2Ae0LJod3Xs+K9RRUy9nRUPB1rMvDbmy3cOag7uyTxjaI7JkRTRp1ruVcrE8aVOE2QybMrgQ+9rlBztT+9lRENyIZHDibIsiztVwyOinuora0KIFGQtLOUalW92iISLv52ooRRkgJxN12BdeTKaNhTzJA/GSuvoZcnKACd6oKbqq3KMeIxiw5C302hvwWyLTq+Ncg9Q7Lr1YH6vEwC1c4qd4pV4OLvrpXQL/mvIKI9bCWBIdTdaxNmgwiCqnkpIxKJkUlx8EhKoprFCK0eZT9rbLE24uEc4DqF0fF76cHFTzCbhLUdkgFT5Dl/gxOtz2bh1UHQb1venCxT3/frL/zS9JLgvxp0ytiyrVkDLBzvWtf/lf3xx8YY64rnLHJWt/Siy3Aq2g1vtsFPCUyIY9BFtB1ZjF7Gn6IGpJArmkD9koaNfBr/SK5Ir9cPCy2y0iovJxnXo8CvXKkKPBx68xgb0wqmYKv3CUycQq5D7koN4fF7MZWGGmpr/YKt15RCDNSwaDJGRk57ItfvMdYBVAht3680KGkL2nkoxL6WZMN8+KXxtTKE26ZB2qQDUPt1h43/NyhauvTaC9UwVtwQR5r7I/P57YTTHUk/Fw0M0TcWpf3Jrtyd2C0fVJ7BJPKggodR2AMfgnq4ethe9xjdRio6w4ecrcHOA7+p7T1xrbRnDj8qM4+LQvi/2wiiEGHIm8Ka4L1S5qjqxM45i72qO0rrf4V1iX8EJXSBE/haU7+P7/DBMdkI2R91DMNauHxma5ZorJJtJ2bwqdihRzZ+6s3xjepC/rFJ0ghmp51gC+To+KeMtg+kGUR8WMhrU6Yen5/7RXEHiPXv9ctNpp0G54uDlRuZGmB0fs9GGnUPYfiC9PNojQIzqVi66icGMMCO86h5K/PTBszX6lpf0PMdIcct8O8g16kqRLFxRAjInvod86pDKD/bpUPGnt0JCoWHUre4QnpT/6x8n0SUH/VBCwtmCkpQakCW8LpuyOSuav/ghwi9hbHvdhR6dNoUEpDfb8ZU0yBpGbNjqiVEwzz27o/H0AiJnt3zsoczot+ZMn2IvYlUJExfx9wBnNnX5STsx06bMZsyA69MvMi6zIPtXTk8IYgt1+s/p9HH76mrJso9+v+1+fxZLCK6ay9M/ZHG7DviZ0z81un+M4a9jcXKMGfwCfFYVU2514Tw5cgCOXODkxauyC9llgrZ6MD6rqFgsVgq+nURJJC3Icchr7axFl3Q0GyZW+o7I8mcYDX2LJKLjRVSclNH7qOYQ+mv55xCXQIItcmmVtNDvx55xLYLsSNACB9TkRVQ73/XrdeXUMG4DW1UMf4CPs5fusQwmGZlQ47vKPcysNGUsK4/rsHFZMAKwmIKxwb1e3eD4XDCt2ehXwoLsBMzBD1i8hEaxRqllRS+bhMvCbVJKmbcrlXqhHKh0+xUMzWDZRgJLKAZ9Md/ps2ZJuoOThk6XkoNIGYloBOVlEaV/MwIiqKuR31FCdhX+3c51a4uEO725WYYe4DudWqNKNggGjG4rfaX93Q4GJSJowrz5I93NIb8LLrWQyy3hLQ+WSZWpSadA5MSl9GqQh7tD3vih67OevbXealXou8EJq8Uj71lOVtECh+zYnYFTH18hwhJvyu/7mJekiGyrdW9uWH6kjyLk8KBnhn6I39YLs7w+g7aizXfRH5kRZmR8uPXxIBtRH35JlRM180T5yeXpcAyumfyihF7a0Wpz0B6+aq9aY3O6UXYbJJqJ85Lo+8nMEVinBZVtFch9qPmtd1p7xrUWNDBOvfTzGiNmUlZ20YotEstMaclTKI4xtmbY75MPCbC0cJd6FsVB2gzfmr5kYkYIpu3tGQsQBsB66ePwdNkJ9v0f78KapUdflaqdRhAcddVkfUM0T9izc5TOYbkZRvi190QHB+lGQ5X4piauvr6BJWXDC1cWA7QATkezsUa2+DErTdOc5r27PqKdCzMArqiLuRVfTiJ98zjx/qQa1FFtw2XjLUaDyuJZylXe5CUYQPx1kPRN/vnSsChbMXkZa6MU1Af93Byeoc6N4ZZxFO8KU/l5qHWCDNwsyq6+qK85Q2imBYtRljGg9dL6RUKbjVSxDm0K6/BlMlBnohKkL3zoc5xBbR9g8RZRxd2I6aP+QTruI5++gAQh8chQcb5yDl1fzNtyhwE6yvfkB7Y0rEe9JpjfZSxJIH0Ah67MiXR/S/QGnmgKhY9HD7vucTDOlEVI8So4u8n6Wk/fon5C0bQmgc/6g0OqFNl7D5LnJvHiawez47EUb3Fg9K7QE9eNKhs51FJPvup7qlY6shhMuSUaWHEcZDHDZ7r+jMlcN7rHUo9Rcf3dQRuoxZf9UQODfp3cTK9aSFU900O9MnCmzR8yqat0LFJHOLXNBEc9Op5JrIwRbWsHXaqN9rICtmF+rSrXtF5pmaVCt2j/SU+ZkO2RFUl7UThWRj74nyloUvOuaU6MqAeBpkT0vE1q4Mximmy5GLFO52WtyGK0+rsIvoERt2nMw1vX/ZNbDawQuvqZmv7zgwQoUpkxRf5eRh4d6psHHeqYYuEORTrn7d1uMA/3nu1+lDqi7HJXoJnV+9UefevPEsw4uYrQ/9C0ngoUsFIePFsJJoDooOdSj03kbazguai7FnmPIOYKeghcmSAuAEIFkibxueDVkeGkuxjIG/62EahpfRgEja7+CPEWrhvIvyfv3WGvt91ctMciLuVJ3/Wz+PEzb7xTmxOYP2WdcH5fyGlyyHm9Bb2TTbn7PMzsfoMWtKIrX25m7TRWwGRww12EE9F+jtcWRia+QBU6skvJWKwjO85fCPy5htb3LfsW45DbCkEQcuMdrERR6TAcnUCuhalRl2EBiDT/a63htFJQBttdO+T5Y+QCJFagD+o0Cy6m7R84xdxrGjjI8Y7hFsgwO34WxmPS5u6tK6WKsdFi72HJcboWfYgIQCLj8reBOizm00bnWYYrtdn9vdj+OftcS2m4/zMvnPu0rTp9nQdcKeCUZOUdI6GRnQRH4ESlGqjsgeW1A8+ho2TgjvxyxsYQNaUs6jmuJFcfdloR6T4EDTn6aLHeK/VEdudJ8LDBbiwoVdONSaG5zYBUzcS2QYzWieF44ZuRscs1CGXav8Ah5wSUnNhvVRSwYi23OvBvbG7WOgP2DGI1Ap8jMgsJ0zEtF/RYg8AieLyvA7lfAV+cKyBNc1B29oBhVn80ubVpIW6HYbB4DXgKnq/Ja5nliV2V+O8NnO7ZmKxqDOTMkYp7anLnu2hyh/Mdyq89GBjCmJs4RZib+fmK6XUqilcNqSXNbpc21fYJCMd0ZDX9VbIRPyaw/fldVNLOxh217j5R8xNl+yVEdyoT5cmhOY3+33wMWq7ukwmcZGslrELpDCe9g0pM0SxiHrApLOHJ1YQwCNraGy684FSvLJlR89an9YmgPBoNVoiVWWS9aQxk7GLMLR9Y9s7cXDkMWDP2236SAhRw/uYJKv5J12eVsOnY0SrR7Qcr4Qd28/oRisgnuYl05RCWct0dGpLjihP64V+I43QSVosWysK4qshOUDEZoIqLx5LIsFBL2aDolJ8Damu7cnQgIQYK9rqkJWulbxdsMF50rrwLnzRQWQSx9jP5xF0wOG0lpSObNs114Ocvj2btpEH5YgRDINEfmnlNkUeC5TBvIZxLkEzriNbpVzcirZXW0hd5gyEMSzPV9GYm9YujM3BunOCh/xDNE7mSp8+D0T37Qz/qCaUtd8IPCjpwWy7rMHLrbNvSVsUFMhxeTAf0fii9qURGum61U3kO6gcNeDNQ4HQ5u4itk9eEIM8luR5azgvizJ+3NWjkKwC5zMkFp6Vgknye79IvxbQYT1GEZKEaFmYSz57toA7XLDXwfNL3nQaKgsmv9y9cWM6nJBtNd7FvwSNACI+k2htC5m7AG8QqVIt8JaWq576FRj+ok2MfObkTI+Tgy9Tw2blrVoYIRkNlgnNhPLPygtYe9w3n6i1gj1B9ltqELi595B5ECnSks6aKXheR/7DgkxGJrMLO/6t8eXF2QYTOOHqekqBRYqIP4XDneknUi5n1xwVUXna180pV12XyfH2mcYoLx2t33nM9VJP9cDKaBuvfTGvPColtfulsV/uvPJuoiTxcSaxoeqpF7dxFNOXqxa3zPVlfc42Xyx8tQULBc0owP6XUzhlqpawQ8DxW/tLY1pnHq48KEjj7sfuLutGsdu17hd4VX9JF9m9lsKS04VKSj4iieyT89MhMcd56E2H19IGHrByo5ShSy0ui6uQ8MUnJPJvF4yM/3H0NNzvjie8dGt7lInxeA2QlyiDMnF+6ESi6DZ+oczOETtJiUAt090i7jGbh3OgJu7JbUBhb4bKmEQzFWBJn2HFTX0Zof8c9/Xjl4cVswXf6DhqPXICoZ2hL6VdGa7I7UeB3mlkWuYeOTu1yRjqqqgA4hqzlGHpEtzA8dE+75HXFmE3tM53wr0Syo2+J0hjr8L4HgfLO6CwVcMzSOLhjX3/WZkVlnuzCQmSF0e3ola5IrhWxCLQ0suaPsrD9N/yfJXomzmDh0ZnQHQVQHGx10giu+qjGwxme9IXT+SLF/drzzJl3cNl9KPgS392+o6rnjz6A/nuP5LH4eWRXHfs4IUW1O8CYjw08bzXvcup8OvC8p94pLB4ptNyqk25Hk7MGomnYYudh9pbk9mB3ZiBryUNTlFeriUAtkVg2ZDHRB0dFtjykSkPddVuG0u8ZL7celRdA1CGGS1StkBhU4TOVOuQWIaWr3Pi0rRtwndbMfVQRUB2l5PnIYAVy5cqLXzb0Fi+Kr7WOefK4g6oXMewzr+7qmoxRg40WMa/fpYEy4hgaf1H42b05zuaLN0Dnewo4Up9IM55IYD20cKkdNfkQNWuiEAWUuJjwAv3AwL4541q8O6NkTlAAzz5QoqBRuLPiDfFjErLQUSJ73xgiwk9oKVvJ5/MQ9CgN22yKfO9sOhcnxNNuon4+nd27cRByaZ5Bwx0HItezWajei9hiuova4qoXVFiqFXtJDf13QPhCWrO2s6RZ2z4XlsHraYW+zN+y5udkEyYCkBJbyjeRHq5XbNu8tRFt/9aKe1MRLmL7I50/2aF+e6JzGpy+kUnO06s9ywEVvJXTeAhfItIkLh1l8TFWO6zQ+ujLMSgqPsOt/hcWwFP2ow0BBbsrnsZjp5MmG7cCu5au6oxqNfrqUl6upKZsqSw9NJi+BNL6WzBYU9QQd9G5vh2F3HHnXpmrFP4odYTTv2vq798dhh7fhpnpxIv1f1vpY5fNSsiZow4R32I1g/Ru3ZAOtDhH48PQ0CFfVjgTYqmS1tscxpNHSkISG2pj5SBpXIETWGlvpKQMawsaoUTHSFivkq1BFAGupSczbnzHSH32qEnJWO3vj86qv202ZwBBe03oAUzLUZF2sfB0YZn+2NHpZSDHMbmcjkZvXRfpTFGSknwMsDe1zyQ5I3qHlgOylAHetmtdboq4TA94YnDUm/ZDQvsK4cR/c+TOTyHszvpQgWrUjJMNhSKWGYf8fNslSgCKuHzfppJ6LV8gRQ6ZMa5spxEkKOqE79DF7nbgMbTp7iVOiaCZC5ou8MJn0KCe6TBt0vMhcZZQvfGBvgdtZtnCwmfnflzcswsUTJ7KuiOofKaJB3+lDhUh3kXoCQHq6BPryB10ComzZOU0lInTfoOkuC0jnulb05NvtFxwz3njGw0pMNB7pUwQe+XYMIFUjQNOLusOCCMQ60ZrgyQ+KAjVTn0XyPstp9QW6Efm9zfHHEAUj7/9A8s6P3PvISJB5OOJqGvecRDj5FmzykkMw8lm1wJXg4rV6c6lg8L3YjLT/55tMVGGbTfkfAocMJrp86yw9xCgmdhrU2BV3A4iglLU9s8UJ7HMDUGxeQrOlSEvVOIEbQGde6F2jeVckCbpcubY7puNWNaD68TfGqX/aNroAHvqQBohFk2D9+Qaj2mjtkonUHOa1M3/2ogIw9F5P54rAQ5tvRyRvLneqDXTF/0+jFKI7b4hWmu5DiT7hUrSJLdBaO2NPfzmtDQiHItpOrR17YoKeUdP1oMIY33uoa2gjhzK9ym7GtrxX2q8rY5c0nvY3MaYmzkiQJQf6IlcwEe4kmrHa4a8gc02ZBm+pz6NsVoDgCwxzTWvd+dK4kRMeXfkJeHlFWwcesbe5FpgU5fRFXqMFuiavcM0mkHXpHhPVd+/mGEyY4wTWKi3UX2cSalYQmw1DAHoMY0vfxsycqv6E+rh2BVHDffbevQSbw6+DIWzIvCjUE/JqE4TwzgPou2AisiS2k7XzS0B7mr2Pl+mGebQsTEIwNUOt52aX+34csNhMwji0ljlMMQpXjqOKyrPxr75wPiN6TdMLE+2jVkRWKwLmLmoA6BcHx8AfLqTcZOGKjK/Ou4zRQMp3Njm79HrHJswdpYq/2chYOgLGz7npYPhGY0wY2aNV7adHGS4Sh2jB2Td7NoXciJIwWI1f9SlT/KQczIa+6JqV9/v5b4pBlPRhKTbw5VH62D+SG6PHhO1Rog6Sy3xv6qw3glLef+3T39wZxuFJkp8S4ibX8a2Lnj0wcPpbZncddPfqNzGhDL8niORBkf419l/9SA2S4ClzF5Q36Dc0487j8hYq48HZjU8mEJsaFv5NlB24KzO4VRo9g1jv6KKvhkzQtfdfdsi2s7WUN/qIAK4nR9sJnxKwBI4Il+foW7kn2TCg44j5F1bU1ROwbYOiPjbozGRR2eHW2jPA8gx4LIxrXe7p+osFU9LBmYlr8vMocoVKbbrKJIJR0ELVxrbR4Ne7ZnjgP8XM4SLLKIhG29XWhwc/2VqZovWpV1ka7sJ90DFJ7VlL1PRTI0sFhG4rMnvnRs/HLToWGZNXf4rbDzK92AUbCpQHeJLVfYamgRhcSzAE/eXndnND4tEkgwzvYqthxrj4DI+DUwd6VLuaYzdKlTgw0/hTtq9u59gEmDjyT4+WhQt60fQRIjEcrCbenPqVp9HoVC7n5z1r+/n1hRwULW3V0fRmOpfxdE0S79dqwqLmfO+v4vfdLTXnV51Br5uv5VUYJ4tvu/F6mm+vx/qWhflbNxS4zfmji+MAKm0LUJkPU/XCJcPftia2C6NBUyyxRycajYXYjrt64v+uSKCopeLGiu23ysELtHt7h0CS/BTlwco4v4QjISfYMxLjA+mczQ7AWJI3qKHCSqLGLkT4mmGwtqWH5+zmmk7OBA4LMvXrDmfCctstzdqMJVK/n0mrKY8G+FEs+7QtH2998MsGAbqdrGfh9Cah5EFCQpnv5a8lvZVdiJwmznm66+BD6prvJSC8+f5QyGOvtCwMT3CkCa8//VX8itgyhd9gybZSb9tlQtrEUkjM9yrFiaDFP3Y0hXgY6j163PgxYxZ/4ykBgYHJ86lIjr4604p2QCj5vNLtkGT4f/iGdkhA/DMmzY4R/7tIP00dqpgtGh4=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</TotalTime>
  <Words>982</Words>
  <Application>Microsoft Office PowerPoint</Application>
  <PresentationFormat>Widescreen</PresentationFormat>
  <Paragraphs>96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ptos</vt:lpstr>
      <vt:lpstr>Arial</vt:lpstr>
      <vt:lpstr>Bain Core</vt:lpstr>
      <vt:lpstr>think-cell Slide</vt:lpstr>
      <vt:lpstr>Target has sizable R&amp;D organization totaling 127 FTEs and ~50 contractors; recent hiring strategies have increased the amount of both remote and offshore resources </vt:lpstr>
      <vt:lpstr>Internal team: A majority of Target’s R&amp;D organization is based in the US (93%), with recent hiring in Canada (~7% of headcount)</vt:lpstr>
      <vt:lpstr>During 2020-2022 Target experienced high R&amp;D organization attrition, indicating potential loss of domain expertise; attrition stabilized in 2023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bhishek Kumar</dc:creator>
  <cp:lastModifiedBy>Singh, Ujjwal</cp:lastModifiedBy>
  <cp:revision>3</cp:revision>
  <cp:lastPrinted>2017-02-15T14:23:56Z</cp:lastPrinted>
  <dcterms:created xsi:type="dcterms:W3CDTF">2025-06-03T08:19:10Z</dcterms:created>
  <dcterms:modified xsi:type="dcterms:W3CDTF">2025-06-13T06:59:07Z</dcterms:modified>
</cp:coreProperties>
</file>